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3.xml" ContentType="application/inkml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58" r:id="rId4"/>
    <p:sldMasterId id="2147483896" r:id="rId5"/>
  </p:sldMasterIdLst>
  <p:notesMasterIdLst>
    <p:notesMasterId r:id="rId13"/>
  </p:notesMasterIdLst>
  <p:handoutMasterIdLst>
    <p:handoutMasterId r:id="rId14"/>
  </p:handoutMasterIdLst>
  <p:sldIdLst>
    <p:sldId id="256" r:id="rId6"/>
    <p:sldId id="257" r:id="rId7"/>
    <p:sldId id="329" r:id="rId8"/>
    <p:sldId id="326" r:id="rId9"/>
    <p:sldId id="327" r:id="rId10"/>
    <p:sldId id="325" r:id="rId11"/>
    <p:sldId id="260" r:id="rId12"/>
  </p:sldIdLst>
  <p:sldSz cx="12192000" cy="6858000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99" autoAdjust="0"/>
  </p:normalViewPr>
  <p:slideViewPr>
    <p:cSldViewPr snapToGrid="0" showGuides="1">
      <p:cViewPr>
        <p:scale>
          <a:sx n="78" d="100"/>
          <a:sy n="78" d="100"/>
        </p:scale>
        <p:origin x="806" y="67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-1512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2/9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6608" units="cm"/>
          <inkml:channel name="Y" type="integer" max="11748" units="cm"/>
          <inkml:channel name="T" type="integer" max="2.14748E9" units="dev"/>
        </inkml:traceFormat>
        <inkml:channelProperties>
          <inkml:channelProperty channel="X" name="resolution" value="400" units="1/cm"/>
          <inkml:channelProperty channel="Y" name="resolution" value="400" units="1/cm"/>
          <inkml:channelProperty channel="T" name="resolution" value="1" units="1/dev"/>
        </inkml:channelProperties>
      </inkml:inkSource>
      <inkml:timestamp xml:id="ts0" timeString="2022-12-09T07:26:30.557"/>
    </inkml:context>
    <inkml:brush xml:id="br0">
      <inkml:brushProperty name="width" value="0.03528" units="cm"/>
      <inkml:brushProperty name="height" value="0.03528" units="cm"/>
      <inkml:brushProperty name="color" value="#7F7F7F"/>
      <inkml:brushProperty name="fitToCurve" value="1"/>
    </inkml:brush>
  </inkml:definitions>
  <inkml:trace contextRef="#ctx0" brushRef="#br0">0 0 0,'0'0'0,"0"0"15,0 0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6608" units="cm"/>
          <inkml:channel name="Y" type="integer" max="11748" units="cm"/>
          <inkml:channel name="T" type="integer" max="2.14748E9" units="dev"/>
        </inkml:traceFormat>
        <inkml:channelProperties>
          <inkml:channelProperty channel="X" name="resolution" value="400" units="1/cm"/>
          <inkml:channelProperty channel="Y" name="resolution" value="400" units="1/cm"/>
          <inkml:channelProperty channel="T" name="resolution" value="1" units="1/dev"/>
        </inkml:channelProperties>
      </inkml:inkSource>
      <inkml:timestamp xml:id="ts0" timeString="2022-12-09T07:37:10.103"/>
    </inkml:context>
    <inkml:brush xml:id="br0">
      <inkml:brushProperty name="width" value="0.03528" units="cm"/>
      <inkml:brushProperty name="height" value="0.03528" units="cm"/>
      <inkml:brushProperty name="color" value="#7F7F7F"/>
      <inkml:brushProperty name="fitToCurve" value="1"/>
    </inkml:brush>
  </inkml:definitions>
  <inkml:trace contextRef="#ctx0" brushRef="#br0">0 0 0,'0'0'0,"0"0"15,0 0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6608" units="cm"/>
          <inkml:channel name="Y" type="integer" max="11748" units="cm"/>
          <inkml:channel name="T" type="integer" max="2.14748E9" units="dev"/>
        </inkml:traceFormat>
        <inkml:channelProperties>
          <inkml:channelProperty channel="X" name="resolution" value="400" units="1/cm"/>
          <inkml:channelProperty channel="Y" name="resolution" value="400" units="1/cm"/>
          <inkml:channelProperty channel="T" name="resolution" value="1" units="1/dev"/>
        </inkml:channelProperties>
      </inkml:inkSource>
      <inkml:timestamp xml:id="ts0" timeString="2022-12-09T07:31:21.439"/>
    </inkml:context>
    <inkml:brush xml:id="br0">
      <inkml:brushProperty name="width" value="0.03528" units="cm"/>
      <inkml:brushProperty name="height" value="0.03528" units="cm"/>
      <inkml:brushProperty name="color" value="#7F7F7F"/>
      <inkml:brushProperty name="fitToCurve" value="1"/>
    </inkml:brush>
  </inkml:definitions>
  <inkml:trace contextRef="#ctx0" brushRef="#br0">0 0 0,'0'0'0,"0"0"15,0 0 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2/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58788" y="720725"/>
            <a:ext cx="6397625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F32ABF-324D-409C-9350-57014A6F4E71}" type="slidenum">
              <a:rPr lang="en-US" altLang="cs-CZ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cs-CZ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483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344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2275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cs-CZ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43375" y="9120188"/>
            <a:ext cx="3170238" cy="4810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8F6897-AC07-4E19-AB60-E27796034A8B}" type="slidenum">
              <a:rPr lang="en-GB" altLang="cs-CZ">
                <a:solidFill>
                  <a:srgbClr val="000000"/>
                </a:solidFill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altLang="cs-CZ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10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9747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230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4828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6438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57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3670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03100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57498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7189292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8347032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272214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28671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4374326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36919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466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193389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8856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656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9926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1729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8139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90626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90626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20070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00" y="7290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8EE22A3-A8E5-4756-88EE-FC6D60FE6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2448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325938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8148737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0067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401363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90897606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919428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584168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76331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1076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6898323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27078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35231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47754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00" y="7290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8EE22A3-A8E5-4756-88EE-FC6D60FE6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94588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1090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862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20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3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500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47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4841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827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55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21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19828E09-D049-49D7-BE85-DE45BC334CFE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5E51561B-D398-42F6-B947-A1D464580D4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245F6F-F221-47F1-A1CB-901F630239A0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2491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16531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778096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66028850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16884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2037334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497671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103440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67462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0729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427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775746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140537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6185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076375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715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7680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90626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90626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382095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325938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8148737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127962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44856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21952939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193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84152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105443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51978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72286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658962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60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507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539286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3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98" r:id="rId16"/>
    <p:sldLayoutId id="2147483977" r:id="rId17"/>
    <p:sldLayoutId id="2147483978" r:id="rId18"/>
    <p:sldLayoutId id="2147483979" r:id="rId19"/>
    <p:sldLayoutId id="2147483980" r:id="rId20"/>
    <p:sldLayoutId id="2147483981" r:id="rId21"/>
    <p:sldLayoutId id="2147483982" r:id="rId22"/>
    <p:sldLayoutId id="2147483983" r:id="rId23"/>
    <p:sldLayoutId id="2147483984" r:id="rId24"/>
    <p:sldLayoutId id="2147483985" r:id="rId25"/>
    <p:sldLayoutId id="2147483986" r:id="rId26"/>
    <p:sldLayoutId id="2147483987" r:id="rId27"/>
    <p:sldLayoutId id="2147483988" r:id="rId28"/>
    <p:sldLayoutId id="2147483989" r:id="rId29"/>
    <p:sldLayoutId id="2147483990" r:id="rId30"/>
    <p:sldLayoutId id="2147483991" r:id="rId31"/>
    <p:sldLayoutId id="2147483992" r:id="rId32"/>
    <p:sldLayoutId id="2147483993" r:id="rId33"/>
    <p:sldLayoutId id="2147483994" r:id="rId34"/>
    <p:sldLayoutId id="2147483995" r:id="rId35"/>
    <p:sldLayoutId id="2147483996" r:id="rId36"/>
    <p:sldLayoutId id="2147483997" r:id="rId3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1392">
          <p15:clr>
            <a:srgbClr val="F26B43"/>
          </p15:clr>
        </p15:guide>
        <p15:guide id="4" pos="1512">
          <p15:clr>
            <a:srgbClr val="F26B43"/>
          </p15:clr>
        </p15:guide>
        <p15:guide id="5" pos="2592">
          <p15:clr>
            <a:srgbClr val="F26B43"/>
          </p15:clr>
        </p15:guide>
        <p15:guide id="6" pos="2712">
          <p15:clr>
            <a:srgbClr val="F26B43"/>
          </p15:clr>
        </p15:guide>
        <p15:guide id="7" pos="3768">
          <p15:clr>
            <a:srgbClr val="F26B43"/>
          </p15:clr>
        </p15:guide>
        <p15:guide id="8" pos="7368">
          <p15:clr>
            <a:srgbClr val="F26B43"/>
          </p15:clr>
        </p15:guide>
        <p15:guide id="9" pos="6288">
          <p15:clr>
            <a:srgbClr val="F26B43"/>
          </p15:clr>
        </p15:guide>
        <p15:guide id="10" pos="6168">
          <p15:clr>
            <a:srgbClr val="F26B43"/>
          </p15:clr>
        </p15:guide>
        <p15:guide id="11" pos="5088">
          <p15:clr>
            <a:srgbClr val="F26B43"/>
          </p15:clr>
        </p15:guide>
        <p15:guide id="12" pos="4968">
          <p15:clr>
            <a:srgbClr val="F26B43"/>
          </p15:clr>
        </p15:guide>
        <p15:guide id="13" pos="3912">
          <p15:clr>
            <a:srgbClr val="F26B43"/>
          </p15:clr>
        </p15:guide>
        <p15:guide id="14" orient="horz" pos="4104">
          <p15:clr>
            <a:srgbClr val="F26B43"/>
          </p15:clr>
        </p15:guide>
        <p15:guide id="15" orient="horz" pos="4032">
          <p15:clr>
            <a:srgbClr val="F26B43"/>
          </p15:clr>
        </p15:guide>
        <p15:guide id="16" orient="horz" pos="2232">
          <p15:clr>
            <a:srgbClr val="F26B43"/>
          </p15:clr>
        </p15:guide>
        <p15:guide id="17" orient="horz" pos="1056">
          <p15:clr>
            <a:srgbClr val="F26B43"/>
          </p15:clr>
        </p15:guide>
        <p15:guide id="18" orient="horz" pos="19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0871514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stavení Centrálních prvků C-ITS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2 Pro více informací kontaktujte Deloitte Česká republika.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cs-CZ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cs-CZ" sz="800" noProof="0" dirty="0"/>
          </a:p>
        </p:txBody>
      </p:sp>
    </p:spTree>
    <p:extLst>
      <p:ext uri="{BB962C8B-B14F-4D97-AF65-F5344CB8AC3E}">
        <p14:creationId xmlns:p14="http://schemas.microsoft.com/office/powerpoint/2010/main" val="49565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3900" r:id="rId4"/>
    <p:sldLayoutId id="2147483901" r:id="rId5"/>
    <p:sldLayoutId id="2147483902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03" r:id="rId14"/>
    <p:sldLayoutId id="2147483904" r:id="rId15"/>
    <p:sldLayoutId id="2147483905" r:id="rId16"/>
    <p:sldLayoutId id="2147483999" r:id="rId17"/>
    <p:sldLayoutId id="2147483906" r:id="rId18"/>
    <p:sldLayoutId id="2147483907" r:id="rId19"/>
    <p:sldLayoutId id="2147483908" r:id="rId20"/>
    <p:sldLayoutId id="2147483909" r:id="rId21"/>
    <p:sldLayoutId id="2147483911" r:id="rId22"/>
    <p:sldLayoutId id="2147483912" r:id="rId23"/>
    <p:sldLayoutId id="2147483914" r:id="rId24"/>
    <p:sldLayoutId id="2147483915" r:id="rId25"/>
    <p:sldLayoutId id="2147483916" r:id="rId26"/>
    <p:sldLayoutId id="2147483917" r:id="rId27"/>
    <p:sldLayoutId id="2147483918" r:id="rId28"/>
    <p:sldLayoutId id="2147483919" r:id="rId29"/>
    <p:sldLayoutId id="2147483920" r:id="rId30"/>
    <p:sldLayoutId id="2147483921" r:id="rId31"/>
    <p:sldLayoutId id="2147483922" r:id="rId32"/>
    <p:sldLayoutId id="2147483924" r:id="rId33"/>
    <p:sldLayoutId id="2147483925" r:id="rId34"/>
    <p:sldLayoutId id="2147483926" r:id="rId35"/>
    <p:sldLayoutId id="2147483945" r:id="rId36"/>
    <p:sldLayoutId id="2147483946" r:id="rId3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12" userDrawn="1">
          <p15:clr>
            <a:srgbClr val="F26B43"/>
          </p15:clr>
        </p15:guide>
        <p15:guide id="3" pos="1392" userDrawn="1">
          <p15:clr>
            <a:srgbClr val="F26B43"/>
          </p15:clr>
        </p15:guide>
        <p15:guide id="4" pos="1512" userDrawn="1">
          <p15:clr>
            <a:srgbClr val="F26B43"/>
          </p15:clr>
        </p15:guide>
        <p15:guide id="5" pos="2592" userDrawn="1">
          <p15:clr>
            <a:srgbClr val="F26B43"/>
          </p15:clr>
        </p15:guide>
        <p15:guide id="6" pos="2712" userDrawn="1">
          <p15:clr>
            <a:srgbClr val="F26B43"/>
          </p15:clr>
        </p15:guide>
        <p15:guide id="7" pos="3768" userDrawn="1">
          <p15:clr>
            <a:srgbClr val="F26B43"/>
          </p15:clr>
        </p15:guide>
        <p15:guide id="8" pos="7368" userDrawn="1">
          <p15:clr>
            <a:srgbClr val="F26B43"/>
          </p15:clr>
        </p15:guide>
        <p15:guide id="9" pos="6288" userDrawn="1">
          <p15:clr>
            <a:srgbClr val="F26B43"/>
          </p15:clr>
        </p15:guide>
        <p15:guide id="10" pos="6168" userDrawn="1">
          <p15:clr>
            <a:srgbClr val="F26B43"/>
          </p15:clr>
        </p15:guide>
        <p15:guide id="11" pos="5088" userDrawn="1">
          <p15:clr>
            <a:srgbClr val="F26B43"/>
          </p15:clr>
        </p15:guide>
        <p15:guide id="12" pos="4968" userDrawn="1">
          <p15:clr>
            <a:srgbClr val="F26B43"/>
          </p15:clr>
        </p15:guide>
        <p15:guide id="13" pos="3912" userDrawn="1">
          <p15:clr>
            <a:srgbClr val="F26B43"/>
          </p15:clr>
        </p15:guide>
        <p15:guide id="14" orient="horz" pos="4104" userDrawn="1">
          <p15:clr>
            <a:srgbClr val="F26B43"/>
          </p15:clr>
        </p15:guide>
        <p15:guide id="15" orient="horz" pos="4032" userDrawn="1">
          <p15:clr>
            <a:srgbClr val="F26B43"/>
          </p15:clr>
        </p15:guide>
        <p15:guide id="16" orient="horz" pos="2232" userDrawn="1">
          <p15:clr>
            <a:srgbClr val="F26B43"/>
          </p15:clr>
        </p15:guide>
        <p15:guide id="17" orient="horz" pos="1056" userDrawn="1">
          <p15:clr>
            <a:srgbClr val="F26B43"/>
          </p15:clr>
        </p15:guide>
        <p15:guide id="18" orient="horz" pos="1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2" Type="http://schemas.openxmlformats.org/officeDocument/2006/relationships/image" Target="../media/image5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53.xml"/><Relationship Id="rId11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pki@c-its.cz" TargetMode="External"/><Relationship Id="rId2" Type="http://schemas.openxmlformats.org/officeDocument/2006/relationships/hyperlink" Target="http://www.c-its.cz/" TargetMode="External"/><Relationship Id="rId1" Type="http://schemas.openxmlformats.org/officeDocument/2006/relationships/slideLayout" Target="../slideLayouts/slideLayout53.xml"/><Relationship Id="rId4" Type="http://schemas.openxmlformats.org/officeDocument/2006/relationships/hyperlink" Target="mailto:intp@c-its.cz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53.xml"/><Relationship Id="rId11" Type="http://schemas.openxmlformats.org/officeDocument/2006/relationships/image" Target="NUL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Relationship Id="rId11" Type="http://schemas.openxmlformats.org/officeDocument/2006/relationships/image" Target="NUL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lfilip@deloittece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3.xml"/><Relationship Id="rId4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501652" y="4988624"/>
            <a:ext cx="6223613" cy="895983"/>
          </a:xfrm>
        </p:spPr>
        <p:txBody>
          <a:bodyPr/>
          <a:lstStyle/>
          <a:p>
            <a:r>
              <a:rPr lang="en-US" dirty="0" err="1"/>
              <a:t>Představení</a:t>
            </a:r>
            <a:r>
              <a:rPr lang="en-US" dirty="0"/>
              <a:t> </a:t>
            </a:r>
            <a:r>
              <a:rPr lang="en-US" dirty="0" err="1"/>
              <a:t>Centrálních</a:t>
            </a:r>
            <a:r>
              <a:rPr lang="en-US" dirty="0"/>
              <a:t> </a:t>
            </a:r>
            <a:r>
              <a:rPr lang="en-US" dirty="0" err="1"/>
              <a:t>prvků</a:t>
            </a:r>
            <a:r>
              <a:rPr lang="en-US" dirty="0"/>
              <a:t> C-ITS</a:t>
            </a:r>
            <a:endParaRPr lang="cs-CZ" dirty="0"/>
          </a:p>
        </p:txBody>
      </p:sp>
      <p:sp>
        <p:nvSpPr>
          <p:cNvPr id="3994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2" y="5884607"/>
            <a:ext cx="5741832" cy="273050"/>
          </a:xfrm>
        </p:spPr>
        <p:txBody>
          <a:bodyPr vert="horz" lIns="0" tIns="0" rIns="0" bIns="0" rtlCol="0" anchor="b" anchorCtr="0">
            <a:noAutofit/>
          </a:bodyPr>
          <a:lstStyle/>
          <a:p>
            <a:pPr>
              <a:lnSpc>
                <a:spcPts val="3200"/>
              </a:lnSpc>
              <a:spcBef>
                <a:spcPct val="0"/>
              </a:spcBef>
            </a:pP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ITS pro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města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,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specifické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 </a:t>
            </a:r>
            <a:r>
              <a:rPr lang="en-US" sz="1800" dirty="0" err="1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požadavky</a:t>
            </a:r>
            <a:r>
              <a:rPr lang="en-US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, </a:t>
            </a:r>
            <a:r>
              <a:rPr lang="cs-CZ" sz="1800" dirty="0"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rPr>
              <a:t>9.12.2022</a:t>
            </a:r>
            <a:endParaRPr lang="en-US" sz="1800" dirty="0">
              <a:latin typeface="Calibri Light" panose="020F0302020204030204" pitchFamily="34" charset="0"/>
              <a:ea typeface="Open Sans" panose="020B0606030504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" name="Picture 3" descr="Fields_and_car_lo">
            <a:extLst>
              <a:ext uri="{FF2B5EF4-FFF2-40B4-BE49-F238E27FC236}">
                <a16:creationId xmlns:a16="http://schemas.microsoft.com/office/drawing/2014/main" id="{CF6DD369-C9CF-D3EC-6BA2-7AC229AC7C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37" b="14391"/>
          <a:stretch/>
        </p:blipFill>
        <p:spPr bwMode="auto">
          <a:xfrm>
            <a:off x="3036000" y="776748"/>
            <a:ext cx="6120000" cy="4355691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93BC5FE-CB96-D9D4-533B-08A2F2C8466F}"/>
              </a:ext>
            </a:extLst>
          </p:cNvPr>
          <p:cNvSpPr txBox="1">
            <a:spLocks/>
          </p:cNvSpPr>
          <p:nvPr/>
        </p:nvSpPr>
        <p:spPr>
          <a:xfrm>
            <a:off x="501651" y="6157657"/>
            <a:ext cx="7393651" cy="273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Tx/>
              <a:buNone/>
              <a:defRPr sz="14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300" b="0" kern="1200">
                <a:solidFill>
                  <a:schemeClr val="bg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 lang="en-US" sz="1300" kern="120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lang="en-US" sz="1300" kern="1200" baseline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/>
              <a:t>Kateřina Mašínová, Deloitte Advisory s.r.o. </a:t>
            </a:r>
            <a:r>
              <a:rPr lang="cs-CZ" b="0" dirty="0"/>
              <a:t>(projektová podpora při provozu Centrálních prvků C-ITS)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795150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ounded Rectangle 93">
            <a:extLst>
              <a:ext uri="{FF2B5EF4-FFF2-40B4-BE49-F238E27FC236}">
                <a16:creationId xmlns:a16="http://schemas.microsoft.com/office/drawing/2014/main" id="{C5D93F2D-0932-5C31-A865-955F120FB0E3}"/>
              </a:ext>
            </a:extLst>
          </p:cNvPr>
          <p:cNvSpPr/>
          <p:nvPr/>
        </p:nvSpPr>
        <p:spPr bwMode="gray">
          <a:xfrm>
            <a:off x="612113" y="3205320"/>
            <a:ext cx="5544000" cy="2952000"/>
          </a:xfrm>
          <a:prstGeom prst="roundRect">
            <a:avLst>
              <a:gd name="adj" fmla="val 1003"/>
            </a:avLst>
          </a:prstGeom>
          <a:solidFill>
            <a:schemeClr val="bg1">
              <a:lumMod val="95000"/>
            </a:schemeClr>
          </a:solidFill>
          <a:ln w="38100" cap="flat" cmpd="sng" algn="ctr">
            <a:noFill/>
            <a:prstDash val="lgDash"/>
            <a:miter lim="800000"/>
            <a:headEnd/>
            <a:tailEnd/>
          </a:ln>
          <a:effectLst/>
        </p:spPr>
        <p:txBody>
          <a:bodyPr wrap="square" lIns="66675" tIns="66675" rIns="66675" bIns="66675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487" marR="0" lvl="1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114" name="Rounded Rectangle 93">
            <a:extLst>
              <a:ext uri="{FF2B5EF4-FFF2-40B4-BE49-F238E27FC236}">
                <a16:creationId xmlns:a16="http://schemas.microsoft.com/office/drawing/2014/main" id="{354512A5-2292-C5B4-CF41-E414ACFBF3AD}"/>
              </a:ext>
            </a:extLst>
          </p:cNvPr>
          <p:cNvSpPr/>
          <p:nvPr/>
        </p:nvSpPr>
        <p:spPr bwMode="gray">
          <a:xfrm>
            <a:off x="602374" y="1793268"/>
            <a:ext cx="5544000" cy="1224000"/>
          </a:xfrm>
          <a:prstGeom prst="roundRect">
            <a:avLst>
              <a:gd name="adj" fmla="val 1003"/>
            </a:avLst>
          </a:prstGeom>
          <a:noFill/>
          <a:ln w="38100" cap="flat" cmpd="sng" algn="ctr">
            <a:solidFill>
              <a:srgbClr val="C00000"/>
            </a:solidFill>
            <a:prstDash val="lgDash"/>
            <a:miter lim="800000"/>
            <a:headEnd/>
            <a:tailEnd/>
          </a:ln>
          <a:effectLst/>
        </p:spPr>
        <p:txBody>
          <a:bodyPr wrap="square" lIns="66675" tIns="66675" rIns="66675" bIns="66675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487" marR="0" lvl="1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E4FBAD0-C377-F9E0-CF9A-A0ECA22F0D2D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Centrální prvky C-IT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6F69E0F-9A1F-47C5-F123-0493E040E47F}"/>
              </a:ext>
            </a:extLst>
          </p:cNvPr>
          <p:cNvGrpSpPr>
            <a:grpSpLocks noChangeAspect="1"/>
          </p:cNvGrpSpPr>
          <p:nvPr/>
        </p:nvGrpSpPr>
        <p:grpSpPr>
          <a:xfrm>
            <a:off x="4436476" y="2402336"/>
            <a:ext cx="615685" cy="504000"/>
            <a:chOff x="5061952" y="1170650"/>
            <a:chExt cx="670001" cy="545403"/>
          </a:xfrm>
          <a:solidFill>
            <a:sysClr val="windowText" lastClr="000000"/>
          </a:solidFill>
        </p:grpSpPr>
        <p:sp>
          <p:nvSpPr>
            <p:cNvPr id="21" name="Freeform 464">
              <a:extLst>
                <a:ext uri="{FF2B5EF4-FFF2-40B4-BE49-F238E27FC236}">
                  <a16:creationId xmlns:a16="http://schemas.microsoft.com/office/drawing/2014/main" id="{4DE6F2DB-8DA1-B3EF-D81A-64F40AB612AE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5533953" y="1470609"/>
              <a:ext cx="252000" cy="144000"/>
            </a:xfrm>
            <a:custGeom>
              <a:avLst/>
              <a:gdLst>
                <a:gd name="T0" fmla="*/ 309 w 320"/>
                <a:gd name="T1" fmla="*/ 53 h 128"/>
                <a:gd name="T2" fmla="*/ 127 w 320"/>
                <a:gd name="T3" fmla="*/ 53 h 128"/>
                <a:gd name="T4" fmla="*/ 64 w 320"/>
                <a:gd name="T5" fmla="*/ 0 h 128"/>
                <a:gd name="T6" fmla="*/ 0 w 320"/>
                <a:gd name="T7" fmla="*/ 64 h 128"/>
                <a:gd name="T8" fmla="*/ 64 w 320"/>
                <a:gd name="T9" fmla="*/ 128 h 128"/>
                <a:gd name="T10" fmla="*/ 127 w 320"/>
                <a:gd name="T11" fmla="*/ 74 h 128"/>
                <a:gd name="T12" fmla="*/ 256 w 320"/>
                <a:gd name="T13" fmla="*/ 74 h 128"/>
                <a:gd name="T14" fmla="*/ 256 w 320"/>
                <a:gd name="T15" fmla="*/ 96 h 128"/>
                <a:gd name="T16" fmla="*/ 266 w 320"/>
                <a:gd name="T17" fmla="*/ 106 h 128"/>
                <a:gd name="T18" fmla="*/ 277 w 320"/>
                <a:gd name="T19" fmla="*/ 96 h 128"/>
                <a:gd name="T20" fmla="*/ 277 w 320"/>
                <a:gd name="T21" fmla="*/ 74 h 128"/>
                <a:gd name="T22" fmla="*/ 298 w 320"/>
                <a:gd name="T23" fmla="*/ 74 h 128"/>
                <a:gd name="T24" fmla="*/ 298 w 320"/>
                <a:gd name="T25" fmla="*/ 117 h 128"/>
                <a:gd name="T26" fmla="*/ 309 w 320"/>
                <a:gd name="T27" fmla="*/ 128 h 128"/>
                <a:gd name="T28" fmla="*/ 320 w 320"/>
                <a:gd name="T29" fmla="*/ 117 h 128"/>
                <a:gd name="T30" fmla="*/ 320 w 320"/>
                <a:gd name="T31" fmla="*/ 64 h 128"/>
                <a:gd name="T32" fmla="*/ 309 w 320"/>
                <a:gd name="T33" fmla="*/ 53 h 128"/>
                <a:gd name="T34" fmla="*/ 64 w 320"/>
                <a:gd name="T35" fmla="*/ 106 h 128"/>
                <a:gd name="T36" fmla="*/ 21 w 320"/>
                <a:gd name="T37" fmla="*/ 64 h 128"/>
                <a:gd name="T38" fmla="*/ 64 w 320"/>
                <a:gd name="T39" fmla="*/ 21 h 128"/>
                <a:gd name="T40" fmla="*/ 106 w 320"/>
                <a:gd name="T41" fmla="*/ 64 h 128"/>
                <a:gd name="T42" fmla="*/ 64 w 320"/>
                <a:gd name="T4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C6FD19A-618B-04EE-0AA1-2917D22E4481}"/>
                </a:ext>
              </a:extLst>
            </p:cNvPr>
            <p:cNvGrpSpPr/>
            <p:nvPr/>
          </p:nvGrpSpPr>
          <p:grpSpPr>
            <a:xfrm>
              <a:off x="5061952" y="1209279"/>
              <a:ext cx="464932" cy="506774"/>
              <a:chOff x="3597045" y="642734"/>
              <a:chExt cx="1996732" cy="2230815"/>
            </a:xfrm>
            <a:grpFill/>
          </p:grpSpPr>
          <p:sp>
            <p:nvSpPr>
              <p:cNvPr id="31" name="Freeform 7">
                <a:extLst>
                  <a:ext uri="{FF2B5EF4-FFF2-40B4-BE49-F238E27FC236}">
                    <a16:creationId xmlns:a16="http://schemas.microsoft.com/office/drawing/2014/main" id="{39695166-545B-C000-00AF-51D5091D8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7045" y="642734"/>
                <a:ext cx="860240" cy="2085309"/>
              </a:xfrm>
              <a:custGeom>
                <a:avLst/>
                <a:gdLst>
                  <a:gd name="T0" fmla="*/ 86 w 149"/>
                  <a:gd name="T1" fmla="*/ 290 h 348"/>
                  <a:gd name="T2" fmla="*/ 86 w 149"/>
                  <a:gd name="T3" fmla="*/ 290 h 348"/>
                  <a:gd name="T4" fmla="*/ 74 w 149"/>
                  <a:gd name="T5" fmla="*/ 302 h 348"/>
                  <a:gd name="T6" fmla="*/ 62 w 149"/>
                  <a:gd name="T7" fmla="*/ 290 h 348"/>
                  <a:gd name="T8" fmla="*/ 74 w 149"/>
                  <a:gd name="T9" fmla="*/ 278 h 348"/>
                  <a:gd name="T10" fmla="*/ 86 w 149"/>
                  <a:gd name="T11" fmla="*/ 290 h 348"/>
                  <a:gd name="T12" fmla="*/ 149 w 149"/>
                  <a:gd name="T13" fmla="*/ 24 h 348"/>
                  <a:gd name="T14" fmla="*/ 149 w 149"/>
                  <a:gd name="T15" fmla="*/ 24 h 348"/>
                  <a:gd name="T16" fmla="*/ 149 w 149"/>
                  <a:gd name="T17" fmla="*/ 325 h 348"/>
                  <a:gd name="T18" fmla="*/ 124 w 149"/>
                  <a:gd name="T19" fmla="*/ 348 h 348"/>
                  <a:gd name="T20" fmla="*/ 25 w 149"/>
                  <a:gd name="T21" fmla="*/ 348 h 348"/>
                  <a:gd name="T22" fmla="*/ 0 w 149"/>
                  <a:gd name="T23" fmla="*/ 325 h 348"/>
                  <a:gd name="T24" fmla="*/ 0 w 149"/>
                  <a:gd name="T25" fmla="*/ 24 h 348"/>
                  <a:gd name="T26" fmla="*/ 25 w 149"/>
                  <a:gd name="T27" fmla="*/ 0 h 348"/>
                  <a:gd name="T28" fmla="*/ 124 w 149"/>
                  <a:gd name="T29" fmla="*/ 0 h 348"/>
                  <a:gd name="T30" fmla="*/ 149 w 149"/>
                  <a:gd name="T31" fmla="*/ 24 h 348"/>
                  <a:gd name="T32" fmla="*/ 126 w 149"/>
                  <a:gd name="T33" fmla="*/ 324 h 348"/>
                  <a:gd name="T34" fmla="*/ 126 w 149"/>
                  <a:gd name="T35" fmla="*/ 324 h 348"/>
                  <a:gd name="T36" fmla="*/ 126 w 149"/>
                  <a:gd name="T37" fmla="*/ 24 h 348"/>
                  <a:gd name="T38" fmla="*/ 22 w 149"/>
                  <a:gd name="T39" fmla="*/ 24 h 348"/>
                  <a:gd name="T40" fmla="*/ 22 w 149"/>
                  <a:gd name="T41" fmla="*/ 325 h 348"/>
                  <a:gd name="T42" fmla="*/ 124 w 149"/>
                  <a:gd name="T43" fmla="*/ 325 h 348"/>
                  <a:gd name="T44" fmla="*/ 126 w 149"/>
                  <a:gd name="T45" fmla="*/ 324 h 348"/>
                  <a:gd name="T46" fmla="*/ 114 w 149"/>
                  <a:gd name="T47" fmla="*/ 47 h 348"/>
                  <a:gd name="T48" fmla="*/ 114 w 149"/>
                  <a:gd name="T49" fmla="*/ 47 h 348"/>
                  <a:gd name="T50" fmla="*/ 114 w 149"/>
                  <a:gd name="T51" fmla="*/ 244 h 348"/>
                  <a:gd name="T52" fmla="*/ 102 w 149"/>
                  <a:gd name="T53" fmla="*/ 256 h 348"/>
                  <a:gd name="T54" fmla="*/ 46 w 149"/>
                  <a:gd name="T55" fmla="*/ 256 h 348"/>
                  <a:gd name="T56" fmla="*/ 34 w 149"/>
                  <a:gd name="T57" fmla="*/ 244 h 348"/>
                  <a:gd name="T58" fmla="*/ 34 w 149"/>
                  <a:gd name="T59" fmla="*/ 47 h 348"/>
                  <a:gd name="T60" fmla="*/ 46 w 149"/>
                  <a:gd name="T61" fmla="*/ 35 h 348"/>
                  <a:gd name="T62" fmla="*/ 102 w 149"/>
                  <a:gd name="T63" fmla="*/ 35 h 348"/>
                  <a:gd name="T64" fmla="*/ 114 w 149"/>
                  <a:gd name="T65" fmla="*/ 47 h 348"/>
                  <a:gd name="T66" fmla="*/ 57 w 149"/>
                  <a:gd name="T67" fmla="*/ 233 h 348"/>
                  <a:gd name="T68" fmla="*/ 57 w 149"/>
                  <a:gd name="T69" fmla="*/ 233 h 348"/>
                  <a:gd name="T70" fmla="*/ 91 w 149"/>
                  <a:gd name="T71" fmla="*/ 233 h 348"/>
                  <a:gd name="T72" fmla="*/ 91 w 149"/>
                  <a:gd name="T73" fmla="*/ 59 h 348"/>
                  <a:gd name="T74" fmla="*/ 57 w 149"/>
                  <a:gd name="T75" fmla="*/ 59 h 348"/>
                  <a:gd name="T76" fmla="*/ 57 w 149"/>
                  <a:gd name="T77" fmla="*/ 23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9" h="348">
                    <a:moveTo>
                      <a:pt x="86" y="290"/>
                    </a:moveTo>
                    <a:lnTo>
                      <a:pt x="86" y="290"/>
                    </a:lnTo>
                    <a:cubicBezTo>
                      <a:pt x="86" y="297"/>
                      <a:pt x="81" y="302"/>
                      <a:pt x="74" y="302"/>
                    </a:cubicBezTo>
                    <a:cubicBezTo>
                      <a:pt x="68" y="302"/>
                      <a:pt x="62" y="297"/>
                      <a:pt x="62" y="290"/>
                    </a:cubicBezTo>
                    <a:cubicBezTo>
                      <a:pt x="62" y="284"/>
                      <a:pt x="68" y="278"/>
                      <a:pt x="74" y="278"/>
                    </a:cubicBezTo>
                    <a:cubicBezTo>
                      <a:pt x="81" y="278"/>
                      <a:pt x="86" y="284"/>
                      <a:pt x="86" y="290"/>
                    </a:cubicBezTo>
                    <a:close/>
                    <a:moveTo>
                      <a:pt x="149" y="24"/>
                    </a:moveTo>
                    <a:lnTo>
                      <a:pt x="149" y="24"/>
                    </a:lnTo>
                    <a:lnTo>
                      <a:pt x="149" y="325"/>
                    </a:lnTo>
                    <a:cubicBezTo>
                      <a:pt x="149" y="338"/>
                      <a:pt x="138" y="348"/>
                      <a:pt x="124" y="348"/>
                    </a:cubicBezTo>
                    <a:lnTo>
                      <a:pt x="25" y="348"/>
                    </a:lnTo>
                    <a:cubicBezTo>
                      <a:pt x="11" y="348"/>
                      <a:pt x="0" y="338"/>
                      <a:pt x="0" y="32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5" y="0"/>
                    </a:cubicBezTo>
                    <a:lnTo>
                      <a:pt x="124" y="0"/>
                    </a:ln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26" y="324"/>
                    </a:moveTo>
                    <a:lnTo>
                      <a:pt x="126" y="324"/>
                    </a:lnTo>
                    <a:lnTo>
                      <a:pt x="126" y="24"/>
                    </a:lnTo>
                    <a:lnTo>
                      <a:pt x="22" y="24"/>
                    </a:lnTo>
                    <a:lnTo>
                      <a:pt x="22" y="325"/>
                    </a:lnTo>
                    <a:lnTo>
                      <a:pt x="124" y="325"/>
                    </a:lnTo>
                    <a:cubicBezTo>
                      <a:pt x="125" y="325"/>
                      <a:pt x="126" y="325"/>
                      <a:pt x="126" y="324"/>
                    </a:cubicBezTo>
                    <a:close/>
                    <a:moveTo>
                      <a:pt x="114" y="47"/>
                    </a:moveTo>
                    <a:lnTo>
                      <a:pt x="114" y="47"/>
                    </a:lnTo>
                    <a:lnTo>
                      <a:pt x="114" y="244"/>
                    </a:lnTo>
                    <a:cubicBezTo>
                      <a:pt x="114" y="250"/>
                      <a:pt x="109" y="256"/>
                      <a:pt x="102" y="256"/>
                    </a:cubicBezTo>
                    <a:lnTo>
                      <a:pt x="46" y="256"/>
                    </a:lnTo>
                    <a:cubicBezTo>
                      <a:pt x="40" y="256"/>
                      <a:pt x="34" y="250"/>
                      <a:pt x="34" y="244"/>
                    </a:cubicBezTo>
                    <a:lnTo>
                      <a:pt x="34" y="47"/>
                    </a:lnTo>
                    <a:cubicBezTo>
                      <a:pt x="34" y="41"/>
                      <a:pt x="40" y="35"/>
                      <a:pt x="46" y="35"/>
                    </a:cubicBezTo>
                    <a:lnTo>
                      <a:pt x="102" y="35"/>
                    </a:lnTo>
                    <a:cubicBezTo>
                      <a:pt x="109" y="35"/>
                      <a:pt x="114" y="41"/>
                      <a:pt x="114" y="47"/>
                    </a:cubicBezTo>
                    <a:close/>
                    <a:moveTo>
                      <a:pt x="57" y="233"/>
                    </a:moveTo>
                    <a:lnTo>
                      <a:pt x="57" y="233"/>
                    </a:lnTo>
                    <a:lnTo>
                      <a:pt x="91" y="233"/>
                    </a:lnTo>
                    <a:lnTo>
                      <a:pt x="91" y="59"/>
                    </a:lnTo>
                    <a:lnTo>
                      <a:pt x="57" y="59"/>
                    </a:lnTo>
                    <a:lnTo>
                      <a:pt x="57" y="233"/>
                    </a:lnTo>
                    <a:close/>
                  </a:path>
                </a:pathLst>
              </a:custGeom>
              <a:grpFill/>
              <a:ln w="127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B0C9EFD6-9A92-8532-8D6E-C767D1B841F5}"/>
                  </a:ext>
                </a:extLst>
              </p:cNvPr>
              <p:cNvGrpSpPr/>
              <p:nvPr/>
            </p:nvGrpSpPr>
            <p:grpSpPr>
              <a:xfrm>
                <a:off x="4420477" y="1307204"/>
                <a:ext cx="1173300" cy="1566345"/>
                <a:chOff x="9265934" y="2596594"/>
                <a:chExt cx="1173300" cy="1566345"/>
              </a:xfrm>
              <a:grpFill/>
            </p:grpSpPr>
            <p:sp>
              <p:nvSpPr>
                <p:cNvPr id="33" name="Freeform 12">
                  <a:extLst>
                    <a:ext uri="{FF2B5EF4-FFF2-40B4-BE49-F238E27FC236}">
                      <a16:creationId xmlns:a16="http://schemas.microsoft.com/office/drawing/2014/main" id="{369FAA13-0251-0F3C-7188-34A1FB5850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5934" y="2596594"/>
                  <a:ext cx="1173300" cy="1451261"/>
                </a:xfrm>
                <a:custGeom>
                  <a:avLst/>
                  <a:gdLst>
                    <a:gd name="T0" fmla="*/ 22 w 372"/>
                    <a:gd name="T1" fmla="*/ 84 h 474"/>
                    <a:gd name="T2" fmla="*/ 186 w 372"/>
                    <a:gd name="T3" fmla="*/ 144 h 474"/>
                    <a:gd name="T4" fmla="*/ 186 w 372"/>
                    <a:gd name="T5" fmla="*/ 372 h 474"/>
                    <a:gd name="T6" fmla="*/ 351 w 372"/>
                    <a:gd name="T7" fmla="*/ 391 h 474"/>
                    <a:gd name="T8" fmla="*/ 22 w 372"/>
                    <a:gd name="T9" fmla="*/ 393 h 474"/>
                    <a:gd name="T10" fmla="*/ 22 w 372"/>
                    <a:gd name="T11" fmla="*/ 328 h 474"/>
                    <a:gd name="T12" fmla="*/ 322 w 372"/>
                    <a:gd name="T13" fmla="*/ 320 h 474"/>
                    <a:gd name="T14" fmla="*/ 252 w 372"/>
                    <a:gd name="T15" fmla="*/ 343 h 474"/>
                    <a:gd name="T16" fmla="*/ 234 w 372"/>
                    <a:gd name="T17" fmla="*/ 346 h 474"/>
                    <a:gd name="T18" fmla="*/ 214 w 372"/>
                    <a:gd name="T19" fmla="*/ 347 h 474"/>
                    <a:gd name="T20" fmla="*/ 158 w 372"/>
                    <a:gd name="T21" fmla="*/ 347 h 474"/>
                    <a:gd name="T22" fmla="*/ 138 w 372"/>
                    <a:gd name="T23" fmla="*/ 346 h 474"/>
                    <a:gd name="T24" fmla="*/ 59 w 372"/>
                    <a:gd name="T25" fmla="*/ 325 h 474"/>
                    <a:gd name="T26" fmla="*/ 42 w 372"/>
                    <a:gd name="T27" fmla="*/ 315 h 474"/>
                    <a:gd name="T28" fmla="*/ 35 w 372"/>
                    <a:gd name="T29" fmla="*/ 310 h 474"/>
                    <a:gd name="T30" fmla="*/ 27 w 372"/>
                    <a:gd name="T31" fmla="*/ 301 h 474"/>
                    <a:gd name="T32" fmla="*/ 23 w 372"/>
                    <a:gd name="T33" fmla="*/ 294 h 474"/>
                    <a:gd name="T34" fmla="*/ 22 w 372"/>
                    <a:gd name="T35" fmla="*/ 226 h 474"/>
                    <a:gd name="T36" fmla="*/ 351 w 372"/>
                    <a:gd name="T37" fmla="*/ 227 h 474"/>
                    <a:gd name="T38" fmla="*/ 351 w 372"/>
                    <a:gd name="T39" fmla="*/ 291 h 474"/>
                    <a:gd name="T40" fmla="*/ 349 w 372"/>
                    <a:gd name="T41" fmla="*/ 296 h 474"/>
                    <a:gd name="T42" fmla="*/ 344 w 372"/>
                    <a:gd name="T43" fmla="*/ 304 h 474"/>
                    <a:gd name="T44" fmla="*/ 336 w 372"/>
                    <a:gd name="T45" fmla="*/ 311 h 474"/>
                    <a:gd name="T46" fmla="*/ 323 w 372"/>
                    <a:gd name="T47" fmla="*/ 320 h 474"/>
                    <a:gd name="T48" fmla="*/ 48 w 372"/>
                    <a:gd name="T49" fmla="*/ 221 h 474"/>
                    <a:gd name="T50" fmla="*/ 48 w 372"/>
                    <a:gd name="T51" fmla="*/ 221 h 474"/>
                    <a:gd name="T52" fmla="*/ 22 w 372"/>
                    <a:gd name="T53" fmla="*/ 124 h 474"/>
                    <a:gd name="T54" fmla="*/ 29 w 372"/>
                    <a:gd name="T55" fmla="*/ 130 h 474"/>
                    <a:gd name="T56" fmla="*/ 48 w 372"/>
                    <a:gd name="T57" fmla="*/ 142 h 474"/>
                    <a:gd name="T58" fmla="*/ 64 w 372"/>
                    <a:gd name="T59" fmla="*/ 148 h 474"/>
                    <a:gd name="T60" fmla="*/ 90 w 372"/>
                    <a:gd name="T61" fmla="*/ 157 h 474"/>
                    <a:gd name="T62" fmla="*/ 110 w 372"/>
                    <a:gd name="T63" fmla="*/ 161 h 474"/>
                    <a:gd name="T64" fmla="*/ 143 w 372"/>
                    <a:gd name="T65" fmla="*/ 166 h 474"/>
                    <a:gd name="T66" fmla="*/ 167 w 372"/>
                    <a:gd name="T67" fmla="*/ 168 h 474"/>
                    <a:gd name="T68" fmla="*/ 226 w 372"/>
                    <a:gd name="T69" fmla="*/ 166 h 474"/>
                    <a:gd name="T70" fmla="*/ 250 w 372"/>
                    <a:gd name="T71" fmla="*/ 163 h 474"/>
                    <a:gd name="T72" fmla="*/ 281 w 372"/>
                    <a:gd name="T73" fmla="*/ 157 h 474"/>
                    <a:gd name="T74" fmla="*/ 300 w 372"/>
                    <a:gd name="T75" fmla="*/ 152 h 474"/>
                    <a:gd name="T76" fmla="*/ 323 w 372"/>
                    <a:gd name="T77" fmla="*/ 142 h 474"/>
                    <a:gd name="T78" fmla="*/ 336 w 372"/>
                    <a:gd name="T79" fmla="*/ 135 h 474"/>
                    <a:gd name="T80" fmla="*/ 351 w 372"/>
                    <a:gd name="T81" fmla="*/ 124 h 474"/>
                    <a:gd name="T82" fmla="*/ 350 w 372"/>
                    <a:gd name="T83" fmla="*/ 192 h 474"/>
                    <a:gd name="T84" fmla="*/ 346 w 372"/>
                    <a:gd name="T85" fmla="*/ 199 h 474"/>
                    <a:gd name="T86" fmla="*/ 338 w 372"/>
                    <a:gd name="T87" fmla="*/ 208 h 474"/>
                    <a:gd name="T88" fmla="*/ 330 w 372"/>
                    <a:gd name="T89" fmla="*/ 214 h 474"/>
                    <a:gd name="T90" fmla="*/ 313 w 372"/>
                    <a:gd name="T91" fmla="*/ 223 h 474"/>
                    <a:gd name="T92" fmla="*/ 237 w 372"/>
                    <a:gd name="T93" fmla="*/ 243 h 474"/>
                    <a:gd name="T94" fmla="*/ 216 w 372"/>
                    <a:gd name="T95" fmla="*/ 245 h 474"/>
                    <a:gd name="T96" fmla="*/ 169 w 372"/>
                    <a:gd name="T97" fmla="*/ 246 h 474"/>
                    <a:gd name="T98" fmla="*/ 139 w 372"/>
                    <a:gd name="T99" fmla="*/ 244 h 474"/>
                    <a:gd name="T100" fmla="*/ 121 w 372"/>
                    <a:gd name="T101" fmla="*/ 241 h 474"/>
                    <a:gd name="T102" fmla="*/ 50 w 372"/>
                    <a:gd name="T103" fmla="*/ 218 h 474"/>
                    <a:gd name="T104" fmla="*/ 36 w 372"/>
                    <a:gd name="T105" fmla="*/ 209 h 474"/>
                    <a:gd name="T106" fmla="*/ 29 w 372"/>
                    <a:gd name="T107" fmla="*/ 202 h 474"/>
                    <a:gd name="T108" fmla="*/ 24 w 372"/>
                    <a:gd name="T109" fmla="*/ 194 h 474"/>
                    <a:gd name="T110" fmla="*/ 22 w 372"/>
                    <a:gd name="T111" fmla="*/ 186 h 474"/>
                    <a:gd name="T112" fmla="*/ 371 w 372"/>
                    <a:gd name="T113" fmla="*/ 74 h 474"/>
                    <a:gd name="T114" fmla="*/ 2 w 372"/>
                    <a:gd name="T115" fmla="*/ 74 h 474"/>
                    <a:gd name="T116" fmla="*/ 1 w 372"/>
                    <a:gd name="T117" fmla="*/ 399 h 474"/>
                    <a:gd name="T118" fmla="*/ 372 w 372"/>
                    <a:gd name="T119" fmla="*/ 394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72" h="474">
                      <a:moveTo>
                        <a:pt x="186" y="144"/>
                      </a:moveTo>
                      <a:lnTo>
                        <a:pt x="186" y="144"/>
                      </a:lnTo>
                      <a:cubicBezTo>
                        <a:pt x="84" y="144"/>
                        <a:pt x="22" y="109"/>
                        <a:pt x="22" y="84"/>
                      </a:cubicBezTo>
                      <a:cubicBezTo>
                        <a:pt x="22" y="46"/>
                        <a:pt x="118" y="23"/>
                        <a:pt x="186" y="23"/>
                      </a:cubicBezTo>
                      <a:cubicBezTo>
                        <a:pt x="288" y="23"/>
                        <a:pt x="351" y="59"/>
                        <a:pt x="351" y="84"/>
                      </a:cubicBezTo>
                      <a:cubicBezTo>
                        <a:pt x="351" y="109"/>
                        <a:pt x="288" y="144"/>
                        <a:pt x="186" y="144"/>
                      </a:cubicBezTo>
                      <a:lnTo>
                        <a:pt x="186" y="144"/>
                      </a:lnTo>
                      <a:close/>
                      <a:moveTo>
                        <a:pt x="186" y="372"/>
                      </a:moveTo>
                      <a:lnTo>
                        <a:pt x="186" y="372"/>
                      </a:lnTo>
                      <a:cubicBezTo>
                        <a:pt x="259" y="372"/>
                        <a:pt x="319" y="356"/>
                        <a:pt x="351" y="329"/>
                      </a:cubicBezTo>
                      <a:cubicBezTo>
                        <a:pt x="351" y="328"/>
                        <a:pt x="351" y="328"/>
                        <a:pt x="351" y="328"/>
                      </a:cubicBezTo>
                      <a:lnTo>
                        <a:pt x="351" y="391"/>
                      </a:lnTo>
                      <a:lnTo>
                        <a:pt x="351" y="392"/>
                      </a:lnTo>
                      <a:cubicBezTo>
                        <a:pt x="347" y="420"/>
                        <a:pt x="279" y="450"/>
                        <a:pt x="186" y="450"/>
                      </a:cubicBezTo>
                      <a:cubicBezTo>
                        <a:pt x="94" y="450"/>
                        <a:pt x="26" y="420"/>
                        <a:pt x="22" y="393"/>
                      </a:cubicBezTo>
                      <a:cubicBezTo>
                        <a:pt x="22" y="392"/>
                        <a:pt x="22" y="392"/>
                        <a:pt x="22" y="392"/>
                      </a:cubicBezTo>
                      <a:lnTo>
                        <a:pt x="22" y="328"/>
                      </a:lnTo>
                      <a:cubicBezTo>
                        <a:pt x="22" y="328"/>
                        <a:pt x="22" y="328"/>
                        <a:pt x="22" y="328"/>
                      </a:cubicBezTo>
                      <a:cubicBezTo>
                        <a:pt x="53" y="356"/>
                        <a:pt x="113" y="372"/>
                        <a:pt x="186" y="372"/>
                      </a:cubicBezTo>
                      <a:lnTo>
                        <a:pt x="186" y="372"/>
                      </a:lnTo>
                      <a:close/>
                      <a:moveTo>
                        <a:pt x="322" y="320"/>
                      </a:moveTo>
                      <a:lnTo>
                        <a:pt x="322" y="320"/>
                      </a:lnTo>
                      <a:cubicBezTo>
                        <a:pt x="320" y="322"/>
                        <a:pt x="317" y="323"/>
                        <a:pt x="313" y="325"/>
                      </a:cubicBezTo>
                      <a:cubicBezTo>
                        <a:pt x="297" y="333"/>
                        <a:pt x="275" y="339"/>
                        <a:pt x="252" y="343"/>
                      </a:cubicBezTo>
                      <a:lnTo>
                        <a:pt x="251" y="343"/>
                      </a:lnTo>
                      <a:cubicBezTo>
                        <a:pt x="247" y="344"/>
                        <a:pt x="242" y="345"/>
                        <a:pt x="237" y="345"/>
                      </a:cubicBezTo>
                      <a:lnTo>
                        <a:pt x="234" y="346"/>
                      </a:lnTo>
                      <a:cubicBezTo>
                        <a:pt x="230" y="346"/>
                        <a:pt x="225" y="347"/>
                        <a:pt x="221" y="347"/>
                      </a:cubicBezTo>
                      <a:cubicBezTo>
                        <a:pt x="220" y="347"/>
                        <a:pt x="219" y="347"/>
                        <a:pt x="217" y="347"/>
                      </a:cubicBezTo>
                      <a:lnTo>
                        <a:pt x="214" y="347"/>
                      </a:lnTo>
                      <a:cubicBezTo>
                        <a:pt x="210" y="348"/>
                        <a:pt x="207" y="348"/>
                        <a:pt x="204" y="348"/>
                      </a:cubicBezTo>
                      <a:cubicBezTo>
                        <a:pt x="192" y="349"/>
                        <a:pt x="180" y="349"/>
                        <a:pt x="169" y="348"/>
                      </a:cubicBezTo>
                      <a:cubicBezTo>
                        <a:pt x="165" y="348"/>
                        <a:pt x="162" y="348"/>
                        <a:pt x="158" y="347"/>
                      </a:cubicBezTo>
                      <a:lnTo>
                        <a:pt x="157" y="347"/>
                      </a:lnTo>
                      <a:cubicBezTo>
                        <a:pt x="155" y="347"/>
                        <a:pt x="154" y="347"/>
                        <a:pt x="152" y="347"/>
                      </a:cubicBezTo>
                      <a:cubicBezTo>
                        <a:pt x="147" y="347"/>
                        <a:pt x="143" y="346"/>
                        <a:pt x="138" y="346"/>
                      </a:cubicBezTo>
                      <a:cubicBezTo>
                        <a:pt x="137" y="345"/>
                        <a:pt x="137" y="345"/>
                        <a:pt x="136" y="345"/>
                      </a:cubicBezTo>
                      <a:cubicBezTo>
                        <a:pt x="131" y="345"/>
                        <a:pt x="126" y="344"/>
                        <a:pt x="121" y="343"/>
                      </a:cubicBezTo>
                      <a:cubicBezTo>
                        <a:pt x="98" y="339"/>
                        <a:pt x="76" y="333"/>
                        <a:pt x="59" y="325"/>
                      </a:cubicBezTo>
                      <a:cubicBezTo>
                        <a:pt x="56" y="323"/>
                        <a:pt x="53" y="322"/>
                        <a:pt x="51" y="320"/>
                      </a:cubicBezTo>
                      <a:lnTo>
                        <a:pt x="50" y="320"/>
                      </a:lnTo>
                      <a:cubicBezTo>
                        <a:pt x="47" y="319"/>
                        <a:pt x="45" y="317"/>
                        <a:pt x="42" y="315"/>
                      </a:cubicBezTo>
                      <a:lnTo>
                        <a:pt x="41" y="315"/>
                      </a:lnTo>
                      <a:cubicBezTo>
                        <a:pt x="40" y="314"/>
                        <a:pt x="38" y="312"/>
                        <a:pt x="36" y="311"/>
                      </a:cubicBezTo>
                      <a:lnTo>
                        <a:pt x="35" y="310"/>
                      </a:lnTo>
                      <a:cubicBezTo>
                        <a:pt x="33" y="308"/>
                        <a:pt x="32" y="307"/>
                        <a:pt x="31" y="306"/>
                      </a:cubicBezTo>
                      <a:cubicBezTo>
                        <a:pt x="30" y="306"/>
                        <a:pt x="30" y="305"/>
                        <a:pt x="29" y="304"/>
                      </a:cubicBezTo>
                      <a:cubicBezTo>
                        <a:pt x="28" y="303"/>
                        <a:pt x="27" y="302"/>
                        <a:pt x="27" y="301"/>
                      </a:cubicBezTo>
                      <a:cubicBezTo>
                        <a:pt x="26" y="300"/>
                        <a:pt x="26" y="300"/>
                        <a:pt x="25" y="299"/>
                      </a:cubicBezTo>
                      <a:cubicBezTo>
                        <a:pt x="25" y="298"/>
                        <a:pt x="24" y="297"/>
                        <a:pt x="24" y="296"/>
                      </a:cubicBezTo>
                      <a:cubicBezTo>
                        <a:pt x="23" y="296"/>
                        <a:pt x="23" y="295"/>
                        <a:pt x="23" y="294"/>
                      </a:cubicBezTo>
                      <a:cubicBezTo>
                        <a:pt x="22" y="293"/>
                        <a:pt x="22" y="292"/>
                        <a:pt x="22" y="291"/>
                      </a:cubicBezTo>
                      <a:cubicBezTo>
                        <a:pt x="22" y="290"/>
                        <a:pt x="22" y="289"/>
                        <a:pt x="22" y="288"/>
                      </a:cubicBezTo>
                      <a:lnTo>
                        <a:pt x="22" y="226"/>
                      </a:lnTo>
                      <a:cubicBezTo>
                        <a:pt x="22" y="226"/>
                        <a:pt x="22" y="226"/>
                        <a:pt x="22" y="226"/>
                      </a:cubicBezTo>
                      <a:cubicBezTo>
                        <a:pt x="53" y="254"/>
                        <a:pt x="113" y="270"/>
                        <a:pt x="186" y="270"/>
                      </a:cubicBezTo>
                      <a:cubicBezTo>
                        <a:pt x="259" y="270"/>
                        <a:pt x="319" y="254"/>
                        <a:pt x="351" y="227"/>
                      </a:cubicBezTo>
                      <a:cubicBezTo>
                        <a:pt x="351" y="226"/>
                        <a:pt x="351" y="226"/>
                        <a:pt x="351" y="226"/>
                      </a:cubicBezTo>
                      <a:lnTo>
                        <a:pt x="351" y="288"/>
                      </a:lnTo>
                      <a:cubicBezTo>
                        <a:pt x="351" y="289"/>
                        <a:pt x="351" y="290"/>
                        <a:pt x="351" y="291"/>
                      </a:cubicBezTo>
                      <a:lnTo>
                        <a:pt x="351" y="291"/>
                      </a:lnTo>
                      <a:cubicBezTo>
                        <a:pt x="350" y="292"/>
                        <a:pt x="350" y="293"/>
                        <a:pt x="350" y="294"/>
                      </a:cubicBezTo>
                      <a:cubicBezTo>
                        <a:pt x="350" y="295"/>
                        <a:pt x="349" y="296"/>
                        <a:pt x="349" y="296"/>
                      </a:cubicBezTo>
                      <a:cubicBezTo>
                        <a:pt x="349" y="297"/>
                        <a:pt x="348" y="298"/>
                        <a:pt x="348" y="299"/>
                      </a:cubicBezTo>
                      <a:cubicBezTo>
                        <a:pt x="347" y="300"/>
                        <a:pt x="347" y="301"/>
                        <a:pt x="346" y="301"/>
                      </a:cubicBezTo>
                      <a:cubicBezTo>
                        <a:pt x="345" y="302"/>
                        <a:pt x="344" y="303"/>
                        <a:pt x="344" y="304"/>
                      </a:cubicBezTo>
                      <a:cubicBezTo>
                        <a:pt x="343" y="305"/>
                        <a:pt x="342" y="306"/>
                        <a:pt x="342" y="306"/>
                      </a:cubicBezTo>
                      <a:cubicBezTo>
                        <a:pt x="341" y="307"/>
                        <a:pt x="340" y="308"/>
                        <a:pt x="338" y="310"/>
                      </a:cubicBezTo>
                      <a:cubicBezTo>
                        <a:pt x="338" y="310"/>
                        <a:pt x="337" y="311"/>
                        <a:pt x="336" y="311"/>
                      </a:cubicBezTo>
                      <a:cubicBezTo>
                        <a:pt x="335" y="312"/>
                        <a:pt x="333" y="314"/>
                        <a:pt x="331" y="315"/>
                      </a:cubicBezTo>
                      <a:cubicBezTo>
                        <a:pt x="331" y="315"/>
                        <a:pt x="330" y="316"/>
                        <a:pt x="330" y="316"/>
                      </a:cubicBezTo>
                      <a:cubicBezTo>
                        <a:pt x="328" y="317"/>
                        <a:pt x="325" y="319"/>
                        <a:pt x="323" y="320"/>
                      </a:cubicBezTo>
                      <a:lnTo>
                        <a:pt x="322" y="320"/>
                      </a:lnTo>
                      <a:lnTo>
                        <a:pt x="322" y="320"/>
                      </a:lnTo>
                      <a:close/>
                      <a:moveTo>
                        <a:pt x="48" y="221"/>
                      </a:move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close/>
                      <a:moveTo>
                        <a:pt x="22" y="124"/>
                      </a:moveTo>
                      <a:lnTo>
                        <a:pt x="22" y="124"/>
                      </a:lnTo>
                      <a:cubicBezTo>
                        <a:pt x="23" y="126"/>
                        <a:pt x="26" y="127"/>
                        <a:pt x="28" y="129"/>
                      </a:cubicBezTo>
                      <a:lnTo>
                        <a:pt x="29" y="130"/>
                      </a:lnTo>
                      <a:cubicBezTo>
                        <a:pt x="32" y="132"/>
                        <a:pt x="34" y="133"/>
                        <a:pt x="37" y="135"/>
                      </a:cubicBezTo>
                      <a:lnTo>
                        <a:pt x="39" y="137"/>
                      </a:lnTo>
                      <a:cubicBezTo>
                        <a:pt x="42" y="138"/>
                        <a:pt x="45" y="140"/>
                        <a:pt x="48" y="142"/>
                      </a:cubicBezTo>
                      <a:cubicBezTo>
                        <a:pt x="49" y="142"/>
                        <a:pt x="49" y="142"/>
                        <a:pt x="49" y="142"/>
                      </a:cubicBezTo>
                      <a:cubicBezTo>
                        <a:pt x="53" y="144"/>
                        <a:pt x="56" y="145"/>
                        <a:pt x="60" y="147"/>
                      </a:cubicBezTo>
                      <a:lnTo>
                        <a:pt x="64" y="148"/>
                      </a:lnTo>
                      <a:cubicBezTo>
                        <a:pt x="67" y="150"/>
                        <a:pt x="70" y="151"/>
                        <a:pt x="74" y="152"/>
                      </a:cubicBezTo>
                      <a:cubicBezTo>
                        <a:pt x="75" y="152"/>
                        <a:pt x="76" y="153"/>
                        <a:pt x="77" y="153"/>
                      </a:cubicBezTo>
                      <a:cubicBezTo>
                        <a:pt x="81" y="154"/>
                        <a:pt x="85" y="156"/>
                        <a:pt x="90" y="157"/>
                      </a:cubicBezTo>
                      <a:cubicBezTo>
                        <a:pt x="90" y="157"/>
                        <a:pt x="91" y="157"/>
                        <a:pt x="92" y="157"/>
                      </a:cubicBezTo>
                      <a:cubicBezTo>
                        <a:pt x="96" y="158"/>
                        <a:pt x="101" y="159"/>
                        <a:pt x="105" y="160"/>
                      </a:cubicBezTo>
                      <a:lnTo>
                        <a:pt x="110" y="161"/>
                      </a:lnTo>
                      <a:cubicBezTo>
                        <a:pt x="114" y="162"/>
                        <a:pt x="118" y="163"/>
                        <a:pt x="122" y="163"/>
                      </a:cubicBezTo>
                      <a:lnTo>
                        <a:pt x="126" y="164"/>
                      </a:lnTo>
                      <a:cubicBezTo>
                        <a:pt x="131" y="165"/>
                        <a:pt x="137" y="165"/>
                        <a:pt x="143" y="166"/>
                      </a:cubicBezTo>
                      <a:lnTo>
                        <a:pt x="147" y="166"/>
                      </a:lnTo>
                      <a:cubicBezTo>
                        <a:pt x="152" y="167"/>
                        <a:pt x="156" y="167"/>
                        <a:pt x="161" y="167"/>
                      </a:cubicBezTo>
                      <a:lnTo>
                        <a:pt x="167" y="168"/>
                      </a:lnTo>
                      <a:cubicBezTo>
                        <a:pt x="180" y="168"/>
                        <a:pt x="193" y="168"/>
                        <a:pt x="206" y="168"/>
                      </a:cubicBezTo>
                      <a:lnTo>
                        <a:pt x="212" y="167"/>
                      </a:lnTo>
                      <a:cubicBezTo>
                        <a:pt x="217" y="167"/>
                        <a:pt x="221" y="167"/>
                        <a:pt x="226" y="166"/>
                      </a:cubicBezTo>
                      <a:lnTo>
                        <a:pt x="230" y="166"/>
                      </a:lnTo>
                      <a:cubicBezTo>
                        <a:pt x="236" y="165"/>
                        <a:pt x="241" y="165"/>
                        <a:pt x="247" y="164"/>
                      </a:cubicBezTo>
                      <a:lnTo>
                        <a:pt x="250" y="163"/>
                      </a:lnTo>
                      <a:cubicBezTo>
                        <a:pt x="255" y="163"/>
                        <a:pt x="259" y="162"/>
                        <a:pt x="263" y="161"/>
                      </a:cubicBezTo>
                      <a:lnTo>
                        <a:pt x="268" y="160"/>
                      </a:lnTo>
                      <a:cubicBezTo>
                        <a:pt x="272" y="159"/>
                        <a:pt x="276" y="158"/>
                        <a:pt x="281" y="157"/>
                      </a:cubicBezTo>
                      <a:lnTo>
                        <a:pt x="283" y="157"/>
                      </a:lnTo>
                      <a:cubicBezTo>
                        <a:pt x="287" y="156"/>
                        <a:pt x="292" y="154"/>
                        <a:pt x="296" y="153"/>
                      </a:cubicBezTo>
                      <a:lnTo>
                        <a:pt x="300" y="152"/>
                      </a:lnTo>
                      <a:cubicBezTo>
                        <a:pt x="303" y="151"/>
                        <a:pt x="306" y="150"/>
                        <a:pt x="309" y="148"/>
                      </a:cubicBezTo>
                      <a:lnTo>
                        <a:pt x="312" y="147"/>
                      </a:lnTo>
                      <a:cubicBezTo>
                        <a:pt x="316" y="145"/>
                        <a:pt x="320" y="144"/>
                        <a:pt x="323" y="142"/>
                      </a:cubicBezTo>
                      <a:cubicBezTo>
                        <a:pt x="324" y="142"/>
                        <a:pt x="324" y="142"/>
                        <a:pt x="325" y="141"/>
                      </a:cubicBezTo>
                      <a:cubicBezTo>
                        <a:pt x="328" y="140"/>
                        <a:pt x="331" y="138"/>
                        <a:pt x="334" y="137"/>
                      </a:cubicBezTo>
                      <a:lnTo>
                        <a:pt x="336" y="135"/>
                      </a:lnTo>
                      <a:cubicBezTo>
                        <a:pt x="339" y="133"/>
                        <a:pt x="341" y="132"/>
                        <a:pt x="344" y="130"/>
                      </a:cubicBezTo>
                      <a:lnTo>
                        <a:pt x="345" y="129"/>
                      </a:lnTo>
                      <a:cubicBezTo>
                        <a:pt x="347" y="127"/>
                        <a:pt x="349" y="126"/>
                        <a:pt x="351" y="124"/>
                      </a:cubicBezTo>
                      <a:lnTo>
                        <a:pt x="351" y="186"/>
                      </a:lnTo>
                      <a:cubicBezTo>
                        <a:pt x="351" y="187"/>
                        <a:pt x="351" y="188"/>
                        <a:pt x="351" y="189"/>
                      </a:cubicBezTo>
                      <a:cubicBezTo>
                        <a:pt x="350" y="190"/>
                        <a:pt x="350" y="191"/>
                        <a:pt x="350" y="192"/>
                      </a:cubicBezTo>
                      <a:cubicBezTo>
                        <a:pt x="350" y="193"/>
                        <a:pt x="349" y="194"/>
                        <a:pt x="349" y="194"/>
                      </a:cubicBezTo>
                      <a:cubicBezTo>
                        <a:pt x="349" y="195"/>
                        <a:pt x="348" y="196"/>
                        <a:pt x="348" y="197"/>
                      </a:cubicBezTo>
                      <a:cubicBezTo>
                        <a:pt x="347" y="198"/>
                        <a:pt x="347" y="198"/>
                        <a:pt x="346" y="199"/>
                      </a:cubicBezTo>
                      <a:cubicBezTo>
                        <a:pt x="345" y="200"/>
                        <a:pt x="345" y="201"/>
                        <a:pt x="344" y="202"/>
                      </a:cubicBezTo>
                      <a:lnTo>
                        <a:pt x="342" y="204"/>
                      </a:lnTo>
                      <a:cubicBezTo>
                        <a:pt x="341" y="205"/>
                        <a:pt x="340" y="206"/>
                        <a:pt x="338" y="208"/>
                      </a:cubicBezTo>
                      <a:lnTo>
                        <a:pt x="336" y="209"/>
                      </a:lnTo>
                      <a:cubicBezTo>
                        <a:pt x="335" y="210"/>
                        <a:pt x="333" y="212"/>
                        <a:pt x="331" y="213"/>
                      </a:cubicBezTo>
                      <a:lnTo>
                        <a:pt x="330" y="214"/>
                      </a:lnTo>
                      <a:cubicBezTo>
                        <a:pt x="328" y="215"/>
                        <a:pt x="325" y="217"/>
                        <a:pt x="323" y="218"/>
                      </a:cubicBezTo>
                      <a:lnTo>
                        <a:pt x="322" y="218"/>
                      </a:lnTo>
                      <a:cubicBezTo>
                        <a:pt x="319" y="220"/>
                        <a:pt x="317" y="221"/>
                        <a:pt x="313" y="223"/>
                      </a:cubicBezTo>
                      <a:cubicBezTo>
                        <a:pt x="296" y="231"/>
                        <a:pt x="275" y="237"/>
                        <a:pt x="252" y="241"/>
                      </a:cubicBezTo>
                      <a:lnTo>
                        <a:pt x="251" y="241"/>
                      </a:lnTo>
                      <a:cubicBezTo>
                        <a:pt x="247" y="242"/>
                        <a:pt x="242" y="243"/>
                        <a:pt x="237" y="243"/>
                      </a:cubicBezTo>
                      <a:cubicBezTo>
                        <a:pt x="236" y="243"/>
                        <a:pt x="235" y="243"/>
                        <a:pt x="234" y="244"/>
                      </a:cubicBezTo>
                      <a:cubicBezTo>
                        <a:pt x="230" y="244"/>
                        <a:pt x="225" y="245"/>
                        <a:pt x="221" y="245"/>
                      </a:cubicBezTo>
                      <a:cubicBezTo>
                        <a:pt x="219" y="245"/>
                        <a:pt x="217" y="245"/>
                        <a:pt x="216" y="245"/>
                      </a:cubicBezTo>
                      <a:lnTo>
                        <a:pt x="214" y="245"/>
                      </a:lnTo>
                      <a:cubicBezTo>
                        <a:pt x="211" y="246"/>
                        <a:pt x="207" y="246"/>
                        <a:pt x="204" y="246"/>
                      </a:cubicBezTo>
                      <a:cubicBezTo>
                        <a:pt x="192" y="246"/>
                        <a:pt x="180" y="246"/>
                        <a:pt x="169" y="246"/>
                      </a:cubicBezTo>
                      <a:cubicBezTo>
                        <a:pt x="166" y="246"/>
                        <a:pt x="164" y="246"/>
                        <a:pt x="162" y="246"/>
                      </a:cubicBezTo>
                      <a:lnTo>
                        <a:pt x="152" y="245"/>
                      </a:lnTo>
                      <a:cubicBezTo>
                        <a:pt x="147" y="245"/>
                        <a:pt x="143" y="244"/>
                        <a:pt x="139" y="244"/>
                      </a:cubicBezTo>
                      <a:lnTo>
                        <a:pt x="136" y="243"/>
                      </a:lnTo>
                      <a:cubicBezTo>
                        <a:pt x="131" y="243"/>
                        <a:pt x="126" y="242"/>
                        <a:pt x="122" y="241"/>
                      </a:cubicBezTo>
                      <a:lnTo>
                        <a:pt x="121" y="241"/>
                      </a:lnTo>
                      <a:cubicBezTo>
                        <a:pt x="98" y="237"/>
                        <a:pt x="76" y="231"/>
                        <a:pt x="59" y="223"/>
                      </a:cubicBezTo>
                      <a:cubicBezTo>
                        <a:pt x="56" y="221"/>
                        <a:pt x="53" y="220"/>
                        <a:pt x="51" y="219"/>
                      </a:cubicBezTo>
                      <a:cubicBezTo>
                        <a:pt x="50" y="218"/>
                        <a:pt x="50" y="218"/>
                        <a:pt x="50" y="218"/>
                      </a:cubicBezTo>
                      <a:cubicBezTo>
                        <a:pt x="47" y="217"/>
                        <a:pt x="45" y="215"/>
                        <a:pt x="43" y="214"/>
                      </a:cubicBezTo>
                      <a:lnTo>
                        <a:pt x="41" y="213"/>
                      </a:lnTo>
                      <a:cubicBezTo>
                        <a:pt x="40" y="212"/>
                        <a:pt x="38" y="210"/>
                        <a:pt x="36" y="209"/>
                      </a:cubicBezTo>
                      <a:cubicBezTo>
                        <a:pt x="36" y="209"/>
                        <a:pt x="35" y="208"/>
                        <a:pt x="35" y="208"/>
                      </a:cubicBezTo>
                      <a:cubicBezTo>
                        <a:pt x="33" y="206"/>
                        <a:pt x="32" y="205"/>
                        <a:pt x="31" y="204"/>
                      </a:cubicBezTo>
                      <a:cubicBezTo>
                        <a:pt x="30" y="204"/>
                        <a:pt x="30" y="203"/>
                        <a:pt x="29" y="202"/>
                      </a:cubicBezTo>
                      <a:cubicBezTo>
                        <a:pt x="28" y="201"/>
                        <a:pt x="27" y="200"/>
                        <a:pt x="27" y="199"/>
                      </a:cubicBezTo>
                      <a:cubicBezTo>
                        <a:pt x="26" y="198"/>
                        <a:pt x="26" y="198"/>
                        <a:pt x="25" y="197"/>
                      </a:cubicBezTo>
                      <a:cubicBezTo>
                        <a:pt x="25" y="196"/>
                        <a:pt x="24" y="195"/>
                        <a:pt x="24" y="194"/>
                      </a:cubicBezTo>
                      <a:cubicBezTo>
                        <a:pt x="23" y="193"/>
                        <a:pt x="23" y="193"/>
                        <a:pt x="23" y="192"/>
                      </a:cubicBezTo>
                      <a:cubicBezTo>
                        <a:pt x="22" y="191"/>
                        <a:pt x="22" y="190"/>
                        <a:pt x="22" y="189"/>
                      </a:cubicBezTo>
                      <a:cubicBezTo>
                        <a:pt x="22" y="188"/>
                        <a:pt x="22" y="187"/>
                        <a:pt x="22" y="186"/>
                      </a:cubicBezTo>
                      <a:lnTo>
                        <a:pt x="22" y="124"/>
                      </a:lnTo>
                      <a:lnTo>
                        <a:pt x="22" y="124"/>
                      </a:lnTo>
                      <a:close/>
                      <a:moveTo>
                        <a:pt x="371" y="74"/>
                      </a:moveTo>
                      <a:lnTo>
                        <a:pt x="371" y="74"/>
                      </a:lnTo>
                      <a:cubicBezTo>
                        <a:pt x="359" y="23"/>
                        <a:pt x="267" y="0"/>
                        <a:pt x="186" y="0"/>
                      </a:cubicBezTo>
                      <a:cubicBezTo>
                        <a:pt x="106" y="0"/>
                        <a:pt x="13" y="23"/>
                        <a:pt x="2" y="74"/>
                      </a:cubicBezTo>
                      <a:cubicBezTo>
                        <a:pt x="1" y="76"/>
                        <a:pt x="0" y="78"/>
                        <a:pt x="0" y="80"/>
                      </a:cubicBezTo>
                      <a:lnTo>
                        <a:pt x="0" y="394"/>
                      </a:lnTo>
                      <a:cubicBezTo>
                        <a:pt x="0" y="396"/>
                        <a:pt x="1" y="398"/>
                        <a:pt x="1" y="399"/>
                      </a:cubicBezTo>
                      <a:cubicBezTo>
                        <a:pt x="10" y="442"/>
                        <a:pt x="88" y="474"/>
                        <a:pt x="186" y="474"/>
                      </a:cubicBezTo>
                      <a:cubicBezTo>
                        <a:pt x="284" y="474"/>
                        <a:pt x="362" y="443"/>
                        <a:pt x="371" y="399"/>
                      </a:cubicBezTo>
                      <a:cubicBezTo>
                        <a:pt x="372" y="398"/>
                        <a:pt x="372" y="396"/>
                        <a:pt x="372" y="394"/>
                      </a:cubicBezTo>
                      <a:lnTo>
                        <a:pt x="372" y="80"/>
                      </a:lnTo>
                      <a:cubicBezTo>
                        <a:pt x="372" y="78"/>
                        <a:pt x="372" y="76"/>
                        <a:pt x="371" y="74"/>
                      </a:cubicBezTo>
                      <a:close/>
                    </a:path>
                  </a:pathLst>
                </a:custGeom>
                <a:grpFill/>
                <a:ln w="0">
                  <a:solidFill>
                    <a:sysClr val="windowText" lastClr="000000">
                      <a:lumMod val="50000"/>
                      <a:lumOff val="50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mc:AlternateContent xmlns:mc="http://schemas.openxmlformats.org/markup-compatibility/2006" xmlns:p14="http://schemas.microsoft.com/office/powerpoint/2010/main">
              <mc:Choice Requires="p14">
                <p:contentPart p14:bwMode="auto" r:id="rId2">
                  <p14:nvContentPartPr>
                    <p14:cNvPr id="34" name="Ink 33">
                      <a:extLst>
                        <a:ext uri="{FF2B5EF4-FFF2-40B4-BE49-F238E27FC236}">
                          <a16:creationId xmlns:a16="http://schemas.microsoft.com/office/drawing/2014/main" id="{46F1458A-21F1-5BBB-83B2-2F33C4E67E18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0034444" y="4162579"/>
                    <a:ext cx="347" cy="360"/>
                  </p14:xfrm>
                </p:contentPart>
              </mc:Choice>
              <mc:Fallback xmlns="">
                <p:pic>
                  <p:nvPicPr>
                    <p:cNvPr id="238" name="Ink 237"/>
                    <p:cNvPicPr/>
                    <p:nvPr/>
                  </p:nvPicPr>
                  <p:blipFill>
                    <a:blip r:embed="rId11"/>
                    <a:stretch>
                      <a:fillRect/>
                    </a:stretch>
                  </p:blipFill>
                  <p:spPr>
                    <a:xfrm>
                      <a:off x="10028198" y="4156099"/>
                      <a:ext cx="12839" cy="133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</p:grpSp>
        <p:sp>
          <p:nvSpPr>
            <p:cNvPr id="30" name="Freeform 683">
              <a:extLst>
                <a:ext uri="{FF2B5EF4-FFF2-40B4-BE49-F238E27FC236}">
                  <a16:creationId xmlns:a16="http://schemas.microsoft.com/office/drawing/2014/main" id="{EBEC2869-829C-713D-5D36-B2D7E50491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256" y="1170650"/>
              <a:ext cx="236492" cy="218161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A2A3CA1-65E9-0C56-0051-DEF5500D8E9E}"/>
              </a:ext>
            </a:extLst>
          </p:cNvPr>
          <p:cNvCxnSpPr>
            <a:cxnSpLocks/>
          </p:cNvCxnSpPr>
          <p:nvPr/>
        </p:nvCxnSpPr>
        <p:spPr>
          <a:xfrm>
            <a:off x="4686008" y="2909943"/>
            <a:ext cx="0" cy="28800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id="{1A5BF648-B2BC-BEA2-C7C2-86C635B3BC3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394" y="1826379"/>
            <a:ext cx="419989" cy="281050"/>
          </a:xfrm>
          <a:prstGeom prst="rect">
            <a:avLst/>
          </a:prstGeom>
        </p:spPr>
      </p:pic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840FA472-6C16-A631-449E-76BEB8B145A3}"/>
              </a:ext>
            </a:extLst>
          </p:cNvPr>
          <p:cNvCxnSpPr/>
          <p:nvPr/>
        </p:nvCxnSpPr>
        <p:spPr>
          <a:xfrm>
            <a:off x="4707084" y="2143888"/>
            <a:ext cx="205" cy="205618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06B4EC9-D2E1-9E62-3E74-2F9751EA945E}"/>
              </a:ext>
            </a:extLst>
          </p:cNvPr>
          <p:cNvSpPr txBox="1"/>
          <p:nvPr/>
        </p:nvSpPr>
        <p:spPr>
          <a:xfrm>
            <a:off x="646572" y="1928678"/>
            <a:ext cx="2880000" cy="30777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vropské centrální prvky C-I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D98D2B3-0777-53E7-291D-BB6B88AB07ED}"/>
              </a:ext>
            </a:extLst>
          </p:cNvPr>
          <p:cNvSpPr txBox="1"/>
          <p:nvPr/>
        </p:nvSpPr>
        <p:spPr>
          <a:xfrm>
            <a:off x="656925" y="2479558"/>
            <a:ext cx="3240000" cy="307777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400" b="1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entrální prvky C-ITS provozované v ŘSD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1F9245D-0228-0E34-4FCC-E177FD1C6D96}"/>
              </a:ext>
            </a:extLst>
          </p:cNvPr>
          <p:cNvSpPr/>
          <p:nvPr/>
        </p:nvSpPr>
        <p:spPr>
          <a:xfrm>
            <a:off x="2378435" y="5839000"/>
            <a:ext cx="2752913" cy="203712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ITS-G5 komunikac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F084142-87D9-558C-E751-5B0FFA2D5985}"/>
              </a:ext>
            </a:extLst>
          </p:cNvPr>
          <p:cNvSpPr/>
          <p:nvPr/>
        </p:nvSpPr>
        <p:spPr>
          <a:xfrm>
            <a:off x="5192128" y="5835570"/>
            <a:ext cx="934691" cy="248779"/>
          </a:xfrm>
          <a:prstGeom prst="rect">
            <a:avLst/>
          </a:prstGeom>
          <a:solidFill>
            <a:srgbClr val="70AD47">
              <a:lumMod val="20000"/>
              <a:lumOff val="80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Mobilní síť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C206421-56DB-E5A7-0A8B-9ADF486CAE6D}"/>
              </a:ext>
            </a:extLst>
          </p:cNvPr>
          <p:cNvGrpSpPr/>
          <p:nvPr/>
        </p:nvGrpSpPr>
        <p:grpSpPr>
          <a:xfrm>
            <a:off x="3274265" y="3865295"/>
            <a:ext cx="509024" cy="617009"/>
            <a:chOff x="4494098" y="6217765"/>
            <a:chExt cx="549861" cy="682181"/>
          </a:xfrm>
          <a:solidFill>
            <a:sysClr val="windowText" lastClr="000000"/>
          </a:solidFill>
        </p:grpSpPr>
        <p:grpSp>
          <p:nvGrpSpPr>
            <p:cNvPr id="49" name="Group 210">
              <a:extLst>
                <a:ext uri="{FF2B5EF4-FFF2-40B4-BE49-F238E27FC236}">
                  <a16:creationId xmlns:a16="http://schemas.microsoft.com/office/drawing/2014/main" id="{80F64513-F8B4-46EB-7072-6789D6E2993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94098" y="6575946"/>
              <a:ext cx="379722" cy="324000"/>
              <a:chOff x="2004" y="804"/>
              <a:chExt cx="184" cy="157"/>
            </a:xfrm>
            <a:grpFill/>
          </p:grpSpPr>
          <p:sp>
            <p:nvSpPr>
              <p:cNvPr id="52" name="Freeform 212">
                <a:extLst>
                  <a:ext uri="{FF2B5EF4-FFF2-40B4-BE49-F238E27FC236}">
                    <a16:creationId xmlns:a16="http://schemas.microsoft.com/office/drawing/2014/main" id="{28796C0E-BC1C-01F5-5DEC-4706E4763A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4" y="890"/>
                <a:ext cx="184" cy="71"/>
              </a:xfrm>
              <a:custGeom>
                <a:avLst/>
                <a:gdLst>
                  <a:gd name="T0" fmla="*/ 245 w 277"/>
                  <a:gd name="T1" fmla="*/ 107 h 107"/>
                  <a:gd name="T2" fmla="*/ 32 w 277"/>
                  <a:gd name="T3" fmla="*/ 107 h 107"/>
                  <a:gd name="T4" fmla="*/ 0 w 277"/>
                  <a:gd name="T5" fmla="*/ 75 h 107"/>
                  <a:gd name="T6" fmla="*/ 0 w 277"/>
                  <a:gd name="T7" fmla="*/ 33 h 107"/>
                  <a:gd name="T8" fmla="*/ 32 w 277"/>
                  <a:gd name="T9" fmla="*/ 0 h 107"/>
                  <a:gd name="T10" fmla="*/ 245 w 277"/>
                  <a:gd name="T11" fmla="*/ 0 h 107"/>
                  <a:gd name="T12" fmla="*/ 277 w 277"/>
                  <a:gd name="T13" fmla="*/ 33 h 107"/>
                  <a:gd name="T14" fmla="*/ 277 w 277"/>
                  <a:gd name="T15" fmla="*/ 75 h 107"/>
                  <a:gd name="T16" fmla="*/ 245 w 277"/>
                  <a:gd name="T17" fmla="*/ 107 h 107"/>
                  <a:gd name="T18" fmla="*/ 32 w 277"/>
                  <a:gd name="T19" fmla="*/ 22 h 107"/>
                  <a:gd name="T20" fmla="*/ 21 w 277"/>
                  <a:gd name="T21" fmla="*/ 33 h 107"/>
                  <a:gd name="T22" fmla="*/ 21 w 277"/>
                  <a:gd name="T23" fmla="*/ 75 h 107"/>
                  <a:gd name="T24" fmla="*/ 32 w 277"/>
                  <a:gd name="T25" fmla="*/ 86 h 107"/>
                  <a:gd name="T26" fmla="*/ 245 w 277"/>
                  <a:gd name="T27" fmla="*/ 86 h 107"/>
                  <a:gd name="T28" fmla="*/ 256 w 277"/>
                  <a:gd name="T29" fmla="*/ 75 h 107"/>
                  <a:gd name="T30" fmla="*/ 256 w 277"/>
                  <a:gd name="T31" fmla="*/ 33 h 107"/>
                  <a:gd name="T32" fmla="*/ 245 w 277"/>
                  <a:gd name="T33" fmla="*/ 22 h 107"/>
                  <a:gd name="T34" fmla="*/ 32 w 277"/>
                  <a:gd name="T35" fmla="*/ 2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7" h="107">
                    <a:moveTo>
                      <a:pt x="245" y="107"/>
                    </a:moveTo>
                    <a:cubicBezTo>
                      <a:pt x="32" y="107"/>
                      <a:pt x="32" y="107"/>
                      <a:pt x="32" y="107"/>
                    </a:cubicBezTo>
                    <a:cubicBezTo>
                      <a:pt x="14" y="107"/>
                      <a:pt x="0" y="93"/>
                      <a:pt x="0" y="7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63" y="0"/>
                      <a:pt x="277" y="15"/>
                      <a:pt x="277" y="33"/>
                    </a:cubicBezTo>
                    <a:cubicBezTo>
                      <a:pt x="277" y="75"/>
                      <a:pt x="277" y="75"/>
                      <a:pt x="277" y="75"/>
                    </a:cubicBezTo>
                    <a:cubicBezTo>
                      <a:pt x="277" y="93"/>
                      <a:pt x="263" y="107"/>
                      <a:pt x="245" y="107"/>
                    </a:cubicBezTo>
                    <a:close/>
                    <a:moveTo>
                      <a:pt x="32" y="22"/>
                    </a:moveTo>
                    <a:cubicBezTo>
                      <a:pt x="26" y="22"/>
                      <a:pt x="21" y="27"/>
                      <a:pt x="21" y="33"/>
                    </a:cubicBezTo>
                    <a:cubicBezTo>
                      <a:pt x="21" y="75"/>
                      <a:pt x="21" y="75"/>
                      <a:pt x="21" y="75"/>
                    </a:cubicBezTo>
                    <a:cubicBezTo>
                      <a:pt x="21" y="81"/>
                      <a:pt x="26" y="86"/>
                      <a:pt x="32" y="86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51" y="86"/>
                      <a:pt x="256" y="81"/>
                      <a:pt x="256" y="75"/>
                    </a:cubicBezTo>
                    <a:cubicBezTo>
                      <a:pt x="256" y="33"/>
                      <a:pt x="256" y="33"/>
                      <a:pt x="256" y="33"/>
                    </a:cubicBezTo>
                    <a:cubicBezTo>
                      <a:pt x="256" y="27"/>
                      <a:pt x="251" y="22"/>
                      <a:pt x="245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213">
                <a:extLst>
                  <a:ext uri="{FF2B5EF4-FFF2-40B4-BE49-F238E27FC236}">
                    <a16:creationId xmlns:a16="http://schemas.microsoft.com/office/drawing/2014/main" id="{1A7CD429-F6F4-EC07-92E4-544ACCCB7C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" y="804"/>
                <a:ext cx="43" cy="114"/>
              </a:xfrm>
              <a:custGeom>
                <a:avLst/>
                <a:gdLst>
                  <a:gd name="T0" fmla="*/ 11 w 65"/>
                  <a:gd name="T1" fmla="*/ 172 h 172"/>
                  <a:gd name="T2" fmla="*/ 0 w 65"/>
                  <a:gd name="T3" fmla="*/ 161 h 172"/>
                  <a:gd name="T4" fmla="*/ 0 w 65"/>
                  <a:gd name="T5" fmla="*/ 140 h 172"/>
                  <a:gd name="T6" fmla="*/ 1 w 65"/>
                  <a:gd name="T7" fmla="*/ 137 h 172"/>
                  <a:gd name="T8" fmla="*/ 43 w 65"/>
                  <a:gd name="T9" fmla="*/ 9 h 172"/>
                  <a:gd name="T10" fmla="*/ 57 w 65"/>
                  <a:gd name="T11" fmla="*/ 2 h 172"/>
                  <a:gd name="T12" fmla="*/ 63 w 65"/>
                  <a:gd name="T13" fmla="*/ 15 h 172"/>
                  <a:gd name="T14" fmla="*/ 21 w 65"/>
                  <a:gd name="T15" fmla="*/ 142 h 172"/>
                  <a:gd name="T16" fmla="*/ 21 w 65"/>
                  <a:gd name="T17" fmla="*/ 161 h 172"/>
                  <a:gd name="T18" fmla="*/ 11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11" y="172"/>
                    </a:moveTo>
                    <a:cubicBezTo>
                      <a:pt x="5" y="172"/>
                      <a:pt x="0" y="167"/>
                      <a:pt x="0" y="16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39"/>
                      <a:pt x="0" y="138"/>
                      <a:pt x="1" y="137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5" y="3"/>
                      <a:pt x="51" y="0"/>
                      <a:pt x="57" y="2"/>
                    </a:cubicBezTo>
                    <a:cubicBezTo>
                      <a:pt x="62" y="4"/>
                      <a:pt x="65" y="10"/>
                      <a:pt x="63" y="15"/>
                    </a:cubicBezTo>
                    <a:cubicBezTo>
                      <a:pt x="21" y="142"/>
                      <a:pt x="21" y="142"/>
                      <a:pt x="21" y="142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21" y="167"/>
                      <a:pt x="17" y="172"/>
                      <a:pt x="11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Freeform 214">
                <a:extLst>
                  <a:ext uri="{FF2B5EF4-FFF2-40B4-BE49-F238E27FC236}">
                    <a16:creationId xmlns:a16="http://schemas.microsoft.com/office/drawing/2014/main" id="{CE2B9107-5E2F-DAC8-4364-BC8A4DAE5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804"/>
                <a:ext cx="43" cy="114"/>
              </a:xfrm>
              <a:custGeom>
                <a:avLst/>
                <a:gdLst>
                  <a:gd name="T0" fmla="*/ 55 w 65"/>
                  <a:gd name="T1" fmla="*/ 172 h 172"/>
                  <a:gd name="T2" fmla="*/ 44 w 65"/>
                  <a:gd name="T3" fmla="*/ 161 h 172"/>
                  <a:gd name="T4" fmla="*/ 44 w 65"/>
                  <a:gd name="T5" fmla="*/ 142 h 172"/>
                  <a:gd name="T6" fmla="*/ 2 w 65"/>
                  <a:gd name="T7" fmla="*/ 15 h 172"/>
                  <a:gd name="T8" fmla="*/ 9 w 65"/>
                  <a:gd name="T9" fmla="*/ 2 h 172"/>
                  <a:gd name="T10" fmla="*/ 22 w 65"/>
                  <a:gd name="T11" fmla="*/ 9 h 172"/>
                  <a:gd name="T12" fmla="*/ 65 w 65"/>
                  <a:gd name="T13" fmla="*/ 137 h 172"/>
                  <a:gd name="T14" fmla="*/ 65 w 65"/>
                  <a:gd name="T15" fmla="*/ 140 h 172"/>
                  <a:gd name="T16" fmla="*/ 65 w 65"/>
                  <a:gd name="T17" fmla="*/ 161 h 172"/>
                  <a:gd name="T18" fmla="*/ 55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55" y="172"/>
                    </a:moveTo>
                    <a:cubicBezTo>
                      <a:pt x="49" y="172"/>
                      <a:pt x="44" y="167"/>
                      <a:pt x="44" y="161"/>
                    </a:cubicBezTo>
                    <a:cubicBezTo>
                      <a:pt x="44" y="142"/>
                      <a:pt x="44" y="142"/>
                      <a:pt x="44" y="14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0"/>
                      <a:pt x="3" y="4"/>
                      <a:pt x="9" y="2"/>
                    </a:cubicBezTo>
                    <a:cubicBezTo>
                      <a:pt x="14" y="0"/>
                      <a:pt x="20" y="3"/>
                      <a:pt x="22" y="9"/>
                    </a:cubicBezTo>
                    <a:cubicBezTo>
                      <a:pt x="65" y="137"/>
                      <a:pt x="65" y="137"/>
                      <a:pt x="65" y="137"/>
                    </a:cubicBezTo>
                    <a:cubicBezTo>
                      <a:pt x="65" y="138"/>
                      <a:pt x="65" y="139"/>
                      <a:pt x="65" y="140"/>
                    </a:cubicBezTo>
                    <a:cubicBezTo>
                      <a:pt x="65" y="161"/>
                      <a:pt x="65" y="161"/>
                      <a:pt x="65" y="161"/>
                    </a:cubicBezTo>
                    <a:cubicBezTo>
                      <a:pt x="65" y="167"/>
                      <a:pt x="61" y="172"/>
                      <a:pt x="55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215">
                <a:extLst>
                  <a:ext uri="{FF2B5EF4-FFF2-40B4-BE49-F238E27FC236}">
                    <a16:creationId xmlns:a16="http://schemas.microsoft.com/office/drawing/2014/main" id="{6D93BF24-704E-71A2-7A2F-91F680AB0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" y="805"/>
                <a:ext cx="127" cy="14"/>
              </a:xfrm>
              <a:custGeom>
                <a:avLst/>
                <a:gdLst>
                  <a:gd name="T0" fmla="*/ 181 w 192"/>
                  <a:gd name="T1" fmla="*/ 22 h 22"/>
                  <a:gd name="T2" fmla="*/ 10 w 192"/>
                  <a:gd name="T3" fmla="*/ 22 h 22"/>
                  <a:gd name="T4" fmla="*/ 0 w 192"/>
                  <a:gd name="T5" fmla="*/ 11 h 22"/>
                  <a:gd name="T6" fmla="*/ 10 w 192"/>
                  <a:gd name="T7" fmla="*/ 0 h 22"/>
                  <a:gd name="T8" fmla="*/ 181 w 192"/>
                  <a:gd name="T9" fmla="*/ 0 h 22"/>
                  <a:gd name="T10" fmla="*/ 192 w 192"/>
                  <a:gd name="T11" fmla="*/ 11 h 22"/>
                  <a:gd name="T12" fmla="*/ 181 w 1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22">
                    <a:moveTo>
                      <a:pt x="181" y="22"/>
                    </a:moveTo>
                    <a:cubicBezTo>
                      <a:pt x="10" y="22"/>
                      <a:pt x="10" y="22"/>
                      <a:pt x="10" y="22"/>
                    </a:cubicBezTo>
                    <a:cubicBezTo>
                      <a:pt x="4" y="22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87" y="0"/>
                      <a:pt x="192" y="5"/>
                      <a:pt x="192" y="11"/>
                    </a:cubicBezTo>
                    <a:cubicBezTo>
                      <a:pt x="192" y="17"/>
                      <a:pt x="187" y="22"/>
                      <a:pt x="18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216">
                <a:extLst>
                  <a:ext uri="{FF2B5EF4-FFF2-40B4-BE49-F238E27FC236}">
                    <a16:creationId xmlns:a16="http://schemas.microsoft.com/office/drawing/2014/main" id="{835F6A4F-18BB-9666-4B38-A984F2821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6" y="918"/>
                <a:ext cx="14" cy="14"/>
              </a:xfrm>
              <a:custGeom>
                <a:avLst/>
                <a:gdLst>
                  <a:gd name="T0" fmla="*/ 11 w 22"/>
                  <a:gd name="T1" fmla="*/ 22 h 22"/>
                  <a:gd name="T2" fmla="*/ 3 w 22"/>
                  <a:gd name="T3" fmla="*/ 19 h 22"/>
                  <a:gd name="T4" fmla="*/ 1 w 22"/>
                  <a:gd name="T5" fmla="*/ 16 h 22"/>
                  <a:gd name="T6" fmla="*/ 0 w 22"/>
                  <a:gd name="T7" fmla="*/ 12 h 22"/>
                  <a:gd name="T8" fmla="*/ 1 w 22"/>
                  <a:gd name="T9" fmla="*/ 8 h 22"/>
                  <a:gd name="T10" fmla="*/ 3 w 22"/>
                  <a:gd name="T11" fmla="*/ 4 h 22"/>
                  <a:gd name="T12" fmla="*/ 5 w 22"/>
                  <a:gd name="T13" fmla="*/ 3 h 22"/>
                  <a:gd name="T14" fmla="*/ 7 w 22"/>
                  <a:gd name="T15" fmla="*/ 2 h 22"/>
                  <a:gd name="T16" fmla="*/ 9 w 22"/>
                  <a:gd name="T17" fmla="*/ 1 h 22"/>
                  <a:gd name="T18" fmla="*/ 19 w 22"/>
                  <a:gd name="T19" fmla="*/ 4 h 22"/>
                  <a:gd name="T20" fmla="*/ 21 w 22"/>
                  <a:gd name="T21" fmla="*/ 8 h 22"/>
                  <a:gd name="T22" fmla="*/ 22 w 22"/>
                  <a:gd name="T23" fmla="*/ 12 h 22"/>
                  <a:gd name="T24" fmla="*/ 21 w 22"/>
                  <a:gd name="T25" fmla="*/ 16 h 22"/>
                  <a:gd name="T26" fmla="*/ 19 w 22"/>
                  <a:gd name="T27" fmla="*/ 19 h 22"/>
                  <a:gd name="T28" fmla="*/ 15 w 22"/>
                  <a:gd name="T29" fmla="*/ 21 h 22"/>
                  <a:gd name="T30" fmla="*/ 11 w 22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2">
                    <a:moveTo>
                      <a:pt x="11" y="22"/>
                    </a:moveTo>
                    <a:cubicBezTo>
                      <a:pt x="8" y="22"/>
                      <a:pt x="5" y="21"/>
                      <a:pt x="3" y="19"/>
                    </a:cubicBezTo>
                    <a:cubicBezTo>
                      <a:pt x="2" y="18"/>
                      <a:pt x="2" y="17"/>
                      <a:pt x="1" y="16"/>
                    </a:cubicBezTo>
                    <a:cubicBezTo>
                      <a:pt x="1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6"/>
                      <a:pt x="2" y="5"/>
                      <a:pt x="3" y="4"/>
                    </a:cubicBezTo>
                    <a:cubicBezTo>
                      <a:pt x="4" y="4"/>
                      <a:pt x="4" y="3"/>
                      <a:pt x="5" y="3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12" y="0"/>
                      <a:pt x="16" y="2"/>
                      <a:pt x="19" y="4"/>
                    </a:cubicBezTo>
                    <a:cubicBezTo>
                      <a:pt x="20" y="5"/>
                      <a:pt x="20" y="6"/>
                      <a:pt x="21" y="8"/>
                    </a:cubicBezTo>
                    <a:cubicBezTo>
                      <a:pt x="21" y="9"/>
                      <a:pt x="22" y="10"/>
                      <a:pt x="22" y="12"/>
                    </a:cubicBezTo>
                    <a:cubicBezTo>
                      <a:pt x="22" y="13"/>
                      <a:pt x="21" y="14"/>
                      <a:pt x="21" y="16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6" y="21"/>
                      <a:pt x="15" y="21"/>
                    </a:cubicBezTo>
                    <a:cubicBezTo>
                      <a:pt x="14" y="22"/>
                      <a:pt x="12" y="22"/>
                      <a:pt x="1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Freeform 217">
                <a:extLst>
                  <a:ext uri="{FF2B5EF4-FFF2-40B4-BE49-F238E27FC236}">
                    <a16:creationId xmlns:a16="http://schemas.microsoft.com/office/drawing/2014/main" id="{55F04D7B-6A6D-DCFF-C310-6B94E17A79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918"/>
                <a:ext cx="14" cy="14"/>
              </a:xfrm>
              <a:custGeom>
                <a:avLst/>
                <a:gdLst>
                  <a:gd name="T0" fmla="*/ 10 w 21"/>
                  <a:gd name="T1" fmla="*/ 22 h 22"/>
                  <a:gd name="T2" fmla="*/ 6 w 21"/>
                  <a:gd name="T3" fmla="*/ 21 h 22"/>
                  <a:gd name="T4" fmla="*/ 3 w 21"/>
                  <a:gd name="T5" fmla="*/ 19 h 22"/>
                  <a:gd name="T6" fmla="*/ 1 w 21"/>
                  <a:gd name="T7" fmla="*/ 16 h 22"/>
                  <a:gd name="T8" fmla="*/ 0 w 21"/>
                  <a:gd name="T9" fmla="*/ 12 h 22"/>
                  <a:gd name="T10" fmla="*/ 1 w 21"/>
                  <a:gd name="T11" fmla="*/ 8 h 22"/>
                  <a:gd name="T12" fmla="*/ 3 w 21"/>
                  <a:gd name="T13" fmla="*/ 4 h 22"/>
                  <a:gd name="T14" fmla="*/ 12 w 21"/>
                  <a:gd name="T15" fmla="*/ 1 h 22"/>
                  <a:gd name="T16" fmla="*/ 14 w 21"/>
                  <a:gd name="T17" fmla="*/ 2 h 22"/>
                  <a:gd name="T18" fmla="*/ 16 w 21"/>
                  <a:gd name="T19" fmla="*/ 3 h 22"/>
                  <a:gd name="T20" fmla="*/ 18 w 21"/>
                  <a:gd name="T21" fmla="*/ 4 h 22"/>
                  <a:gd name="T22" fmla="*/ 20 w 21"/>
                  <a:gd name="T23" fmla="*/ 8 h 22"/>
                  <a:gd name="T24" fmla="*/ 21 w 21"/>
                  <a:gd name="T25" fmla="*/ 12 h 22"/>
                  <a:gd name="T26" fmla="*/ 20 w 21"/>
                  <a:gd name="T27" fmla="*/ 16 h 22"/>
                  <a:gd name="T28" fmla="*/ 18 w 21"/>
                  <a:gd name="T29" fmla="*/ 19 h 22"/>
                  <a:gd name="T30" fmla="*/ 10 w 21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22">
                    <a:moveTo>
                      <a:pt x="10" y="22"/>
                    </a:moveTo>
                    <a:cubicBezTo>
                      <a:pt x="9" y="22"/>
                      <a:pt x="8" y="22"/>
                      <a:pt x="6" y="21"/>
                    </a:cubicBezTo>
                    <a:cubicBezTo>
                      <a:pt x="5" y="21"/>
                      <a:pt x="4" y="20"/>
                      <a:pt x="3" y="19"/>
                    </a:cubicBezTo>
                    <a:cubicBezTo>
                      <a:pt x="2" y="18"/>
                      <a:pt x="1" y="17"/>
                      <a:pt x="1" y="16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5" y="2"/>
                      <a:pt x="9" y="0"/>
                      <a:pt x="12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5" y="2"/>
                      <a:pt x="16" y="2"/>
                      <a:pt x="16" y="3"/>
                    </a:cubicBezTo>
                    <a:cubicBezTo>
                      <a:pt x="17" y="3"/>
                      <a:pt x="17" y="4"/>
                      <a:pt x="18" y="4"/>
                    </a:cubicBezTo>
                    <a:cubicBezTo>
                      <a:pt x="19" y="5"/>
                      <a:pt x="20" y="6"/>
                      <a:pt x="20" y="8"/>
                    </a:cubicBezTo>
                    <a:cubicBezTo>
                      <a:pt x="21" y="9"/>
                      <a:pt x="21" y="10"/>
                      <a:pt x="21" y="12"/>
                    </a:cubicBezTo>
                    <a:cubicBezTo>
                      <a:pt x="21" y="13"/>
                      <a:pt x="21" y="14"/>
                      <a:pt x="20" y="16"/>
                    </a:cubicBezTo>
                    <a:cubicBezTo>
                      <a:pt x="20" y="17"/>
                      <a:pt x="19" y="18"/>
                      <a:pt x="18" y="19"/>
                    </a:cubicBezTo>
                    <a:cubicBezTo>
                      <a:pt x="16" y="21"/>
                      <a:pt x="13" y="22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1" name="Freeform 683">
              <a:extLst>
                <a:ext uri="{FF2B5EF4-FFF2-40B4-BE49-F238E27FC236}">
                  <a16:creationId xmlns:a16="http://schemas.microsoft.com/office/drawing/2014/main" id="{BE294744-C352-0B86-C5E2-7B3EB44242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959" y="6217765"/>
              <a:ext cx="360000" cy="432000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8" name="Freeform 885">
            <a:extLst>
              <a:ext uri="{FF2B5EF4-FFF2-40B4-BE49-F238E27FC236}">
                <a16:creationId xmlns:a16="http://schemas.microsoft.com/office/drawing/2014/main" id="{A2A45F51-B525-236F-83FC-72980916D40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017987" y="4970087"/>
            <a:ext cx="333922" cy="394637"/>
          </a:xfrm>
          <a:custGeom>
            <a:avLst/>
            <a:gdLst>
              <a:gd name="T0" fmla="*/ 234 w 256"/>
              <a:gd name="T1" fmla="*/ 171 h 310"/>
              <a:gd name="T2" fmla="*/ 208 w 256"/>
              <a:gd name="T3" fmla="*/ 160 h 310"/>
              <a:gd name="T4" fmla="*/ 200 w 256"/>
              <a:gd name="T5" fmla="*/ 133 h 310"/>
              <a:gd name="T6" fmla="*/ 96 w 256"/>
              <a:gd name="T7" fmla="*/ 107 h 310"/>
              <a:gd name="T8" fmla="*/ 53 w 256"/>
              <a:gd name="T9" fmla="*/ 136 h 310"/>
              <a:gd name="T10" fmla="*/ 32 w 256"/>
              <a:gd name="T11" fmla="*/ 160 h 310"/>
              <a:gd name="T12" fmla="*/ 25 w 256"/>
              <a:gd name="T13" fmla="*/ 179 h 310"/>
              <a:gd name="T14" fmla="*/ 0 w 256"/>
              <a:gd name="T15" fmla="*/ 245 h 310"/>
              <a:gd name="T16" fmla="*/ 10 w 256"/>
              <a:gd name="T17" fmla="*/ 265 h 310"/>
              <a:gd name="T18" fmla="*/ 21 w 256"/>
              <a:gd name="T19" fmla="*/ 310 h 310"/>
              <a:gd name="T20" fmla="*/ 74 w 256"/>
              <a:gd name="T21" fmla="*/ 299 h 310"/>
              <a:gd name="T22" fmla="*/ 128 w 256"/>
              <a:gd name="T23" fmla="*/ 288 h 310"/>
              <a:gd name="T24" fmla="*/ 181 w 256"/>
              <a:gd name="T25" fmla="*/ 299 h 310"/>
              <a:gd name="T26" fmla="*/ 234 w 256"/>
              <a:gd name="T27" fmla="*/ 310 h 310"/>
              <a:gd name="T28" fmla="*/ 245 w 256"/>
              <a:gd name="T29" fmla="*/ 265 h 310"/>
              <a:gd name="T30" fmla="*/ 256 w 256"/>
              <a:gd name="T31" fmla="*/ 245 h 310"/>
              <a:gd name="T32" fmla="*/ 230 w 256"/>
              <a:gd name="T33" fmla="*/ 179 h 310"/>
              <a:gd name="T34" fmla="*/ 160 w 256"/>
              <a:gd name="T35" fmla="*/ 128 h 310"/>
              <a:gd name="T36" fmla="*/ 189 w 256"/>
              <a:gd name="T37" fmla="*/ 171 h 310"/>
              <a:gd name="T38" fmla="*/ 73 w 256"/>
              <a:gd name="T39" fmla="*/ 144 h 310"/>
              <a:gd name="T40" fmla="*/ 53 w 256"/>
              <a:gd name="T41" fmla="*/ 288 h 310"/>
              <a:gd name="T42" fmla="*/ 32 w 256"/>
              <a:gd name="T43" fmla="*/ 277 h 310"/>
              <a:gd name="T44" fmla="*/ 53 w 256"/>
              <a:gd name="T45" fmla="*/ 288 h 310"/>
              <a:gd name="T46" fmla="*/ 21 w 256"/>
              <a:gd name="T47" fmla="*/ 224 h 310"/>
              <a:gd name="T48" fmla="*/ 202 w 256"/>
              <a:gd name="T49" fmla="*/ 192 h 310"/>
              <a:gd name="T50" fmla="*/ 234 w 256"/>
              <a:gd name="T51" fmla="*/ 245 h 310"/>
              <a:gd name="T52" fmla="*/ 21 w 256"/>
              <a:gd name="T53" fmla="*/ 245 h 310"/>
              <a:gd name="T54" fmla="*/ 202 w 256"/>
              <a:gd name="T55" fmla="*/ 288 h 310"/>
              <a:gd name="T56" fmla="*/ 224 w 256"/>
              <a:gd name="T57" fmla="*/ 277 h 310"/>
              <a:gd name="T58" fmla="*/ 160 w 256"/>
              <a:gd name="T59" fmla="*/ 224 h 310"/>
              <a:gd name="T60" fmla="*/ 106 w 256"/>
              <a:gd name="T61" fmla="*/ 235 h 310"/>
              <a:gd name="T62" fmla="*/ 106 w 256"/>
              <a:gd name="T63" fmla="*/ 214 h 310"/>
              <a:gd name="T64" fmla="*/ 160 w 256"/>
              <a:gd name="T65" fmla="*/ 224 h 310"/>
              <a:gd name="T66" fmla="*/ 57 w 256"/>
              <a:gd name="T67" fmla="*/ 239 h 310"/>
              <a:gd name="T68" fmla="*/ 57 w 256"/>
              <a:gd name="T69" fmla="*/ 218 h 310"/>
              <a:gd name="T70" fmla="*/ 208 w 256"/>
              <a:gd name="T71" fmla="*/ 228 h 310"/>
              <a:gd name="T72" fmla="*/ 188 w 256"/>
              <a:gd name="T73" fmla="*/ 228 h 310"/>
              <a:gd name="T74" fmla="*/ 208 w 256"/>
              <a:gd name="T75" fmla="*/ 228 h 310"/>
              <a:gd name="T76" fmla="*/ 13 w 256"/>
              <a:gd name="T77" fmla="*/ 55 h 310"/>
              <a:gd name="T78" fmla="*/ 242 w 256"/>
              <a:gd name="T79" fmla="*/ 55 h 310"/>
              <a:gd name="T80" fmla="*/ 226 w 256"/>
              <a:gd name="T81" fmla="*/ 69 h 310"/>
              <a:gd name="T82" fmla="*/ 29 w 256"/>
              <a:gd name="T83" fmla="*/ 69 h 310"/>
              <a:gd name="T84" fmla="*/ 14 w 256"/>
              <a:gd name="T85" fmla="*/ 70 h 310"/>
              <a:gd name="T86" fmla="*/ 211 w 256"/>
              <a:gd name="T87" fmla="*/ 104 h 310"/>
              <a:gd name="T88" fmla="*/ 128 w 256"/>
              <a:gd name="T89" fmla="*/ 70 h 310"/>
              <a:gd name="T90" fmla="*/ 51 w 256"/>
              <a:gd name="T91" fmla="*/ 107 h 310"/>
              <a:gd name="T92" fmla="*/ 43 w 256"/>
              <a:gd name="T93" fmla="*/ 89 h 310"/>
              <a:gd name="T94" fmla="*/ 212 w 256"/>
              <a:gd name="T95" fmla="*/ 89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6" h="310">
                <a:moveTo>
                  <a:pt x="230" y="179"/>
                </a:moveTo>
                <a:cubicBezTo>
                  <a:pt x="233" y="177"/>
                  <a:pt x="234" y="175"/>
                  <a:pt x="234" y="171"/>
                </a:cubicBezTo>
                <a:cubicBezTo>
                  <a:pt x="234" y="165"/>
                  <a:pt x="230" y="160"/>
                  <a:pt x="224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2" y="136"/>
                  <a:pt x="202" y="136"/>
                  <a:pt x="202" y="136"/>
                </a:cubicBezTo>
                <a:cubicBezTo>
                  <a:pt x="202" y="135"/>
                  <a:pt x="201" y="134"/>
                  <a:pt x="200" y="133"/>
                </a:cubicBezTo>
                <a:cubicBezTo>
                  <a:pt x="198" y="130"/>
                  <a:pt x="180" y="107"/>
                  <a:pt x="160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75" y="107"/>
                  <a:pt x="57" y="130"/>
                  <a:pt x="55" y="133"/>
                </a:cubicBezTo>
                <a:cubicBezTo>
                  <a:pt x="54" y="134"/>
                  <a:pt x="54" y="135"/>
                  <a:pt x="53" y="136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26" y="160"/>
                  <a:pt x="21" y="165"/>
                  <a:pt x="21" y="171"/>
                </a:cubicBezTo>
                <a:cubicBezTo>
                  <a:pt x="21" y="175"/>
                  <a:pt x="23" y="177"/>
                  <a:pt x="25" y="179"/>
                </a:cubicBezTo>
                <a:cubicBezTo>
                  <a:pt x="10" y="189"/>
                  <a:pt x="0" y="206"/>
                  <a:pt x="0" y="22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8"/>
                  <a:pt x="0" y="255"/>
                  <a:pt x="6" y="262"/>
                </a:cubicBezTo>
                <a:cubicBezTo>
                  <a:pt x="8" y="263"/>
                  <a:pt x="9" y="264"/>
                  <a:pt x="10" y="265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5"/>
                  <a:pt x="15" y="310"/>
                  <a:pt x="21" y="310"/>
                </a:cubicBezTo>
                <a:cubicBezTo>
                  <a:pt x="64" y="310"/>
                  <a:pt x="64" y="310"/>
                  <a:pt x="64" y="310"/>
                </a:cubicBezTo>
                <a:cubicBezTo>
                  <a:pt x="70" y="310"/>
                  <a:pt x="74" y="305"/>
                  <a:pt x="74" y="299"/>
                </a:cubicBezTo>
                <a:cubicBezTo>
                  <a:pt x="74" y="286"/>
                  <a:pt x="74" y="286"/>
                  <a:pt x="74" y="286"/>
                </a:cubicBezTo>
                <a:cubicBezTo>
                  <a:pt x="90" y="287"/>
                  <a:pt x="107" y="288"/>
                  <a:pt x="128" y="288"/>
                </a:cubicBezTo>
                <a:cubicBezTo>
                  <a:pt x="148" y="288"/>
                  <a:pt x="165" y="287"/>
                  <a:pt x="181" y="286"/>
                </a:cubicBezTo>
                <a:cubicBezTo>
                  <a:pt x="181" y="299"/>
                  <a:pt x="181" y="299"/>
                  <a:pt x="181" y="299"/>
                </a:cubicBezTo>
                <a:cubicBezTo>
                  <a:pt x="181" y="305"/>
                  <a:pt x="186" y="310"/>
                  <a:pt x="192" y="310"/>
                </a:cubicBezTo>
                <a:cubicBezTo>
                  <a:pt x="234" y="310"/>
                  <a:pt x="234" y="310"/>
                  <a:pt x="234" y="310"/>
                </a:cubicBezTo>
                <a:cubicBezTo>
                  <a:pt x="240" y="310"/>
                  <a:pt x="245" y="305"/>
                  <a:pt x="245" y="299"/>
                </a:cubicBezTo>
                <a:cubicBezTo>
                  <a:pt x="245" y="265"/>
                  <a:pt x="245" y="265"/>
                  <a:pt x="245" y="265"/>
                </a:cubicBezTo>
                <a:cubicBezTo>
                  <a:pt x="246" y="264"/>
                  <a:pt x="248" y="263"/>
                  <a:pt x="249" y="262"/>
                </a:cubicBezTo>
                <a:cubicBezTo>
                  <a:pt x="255" y="255"/>
                  <a:pt x="256" y="248"/>
                  <a:pt x="256" y="245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6" y="206"/>
                  <a:pt x="245" y="189"/>
                  <a:pt x="230" y="179"/>
                </a:cubicBezTo>
                <a:close/>
                <a:moveTo>
                  <a:pt x="96" y="128"/>
                </a:moveTo>
                <a:cubicBezTo>
                  <a:pt x="160" y="128"/>
                  <a:pt x="160" y="128"/>
                  <a:pt x="160" y="128"/>
                </a:cubicBezTo>
                <a:cubicBezTo>
                  <a:pt x="166" y="128"/>
                  <a:pt x="176" y="137"/>
                  <a:pt x="182" y="144"/>
                </a:cubicBezTo>
                <a:cubicBezTo>
                  <a:pt x="189" y="171"/>
                  <a:pt x="189" y="171"/>
                  <a:pt x="189" y="171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73" y="144"/>
                  <a:pt x="73" y="144"/>
                  <a:pt x="73" y="144"/>
                </a:cubicBezTo>
                <a:cubicBezTo>
                  <a:pt x="79" y="137"/>
                  <a:pt x="89" y="128"/>
                  <a:pt x="96" y="128"/>
                </a:cubicBezTo>
                <a:close/>
                <a:moveTo>
                  <a:pt x="53" y="288"/>
                </a:moveTo>
                <a:cubicBezTo>
                  <a:pt x="32" y="288"/>
                  <a:pt x="32" y="288"/>
                  <a:pt x="32" y="288"/>
                </a:cubicBezTo>
                <a:cubicBezTo>
                  <a:pt x="32" y="277"/>
                  <a:pt x="32" y="277"/>
                  <a:pt x="32" y="277"/>
                </a:cubicBezTo>
                <a:cubicBezTo>
                  <a:pt x="38" y="279"/>
                  <a:pt x="45" y="281"/>
                  <a:pt x="53" y="282"/>
                </a:cubicBezTo>
                <a:lnTo>
                  <a:pt x="53" y="288"/>
                </a:lnTo>
                <a:close/>
                <a:moveTo>
                  <a:pt x="21" y="245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08"/>
                  <a:pt x="37" y="192"/>
                  <a:pt x="53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19" y="192"/>
                  <a:pt x="234" y="208"/>
                  <a:pt x="234" y="224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3" y="247"/>
                  <a:pt x="222" y="267"/>
                  <a:pt x="128" y="267"/>
                </a:cubicBezTo>
                <a:cubicBezTo>
                  <a:pt x="34" y="267"/>
                  <a:pt x="22" y="247"/>
                  <a:pt x="21" y="245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82"/>
                  <a:pt x="202" y="282"/>
                  <a:pt x="202" y="282"/>
                </a:cubicBezTo>
                <a:cubicBezTo>
                  <a:pt x="210" y="281"/>
                  <a:pt x="217" y="279"/>
                  <a:pt x="224" y="277"/>
                </a:cubicBezTo>
                <a:lnTo>
                  <a:pt x="224" y="288"/>
                </a:lnTo>
                <a:close/>
                <a:moveTo>
                  <a:pt x="160" y="224"/>
                </a:moveTo>
                <a:cubicBezTo>
                  <a:pt x="160" y="230"/>
                  <a:pt x="155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30"/>
                  <a:pt x="96" y="224"/>
                </a:cubicBezTo>
                <a:cubicBezTo>
                  <a:pt x="96" y="218"/>
                  <a:pt x="100" y="214"/>
                  <a:pt x="106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55" y="214"/>
                  <a:pt x="160" y="218"/>
                  <a:pt x="160" y="224"/>
                </a:cubicBezTo>
                <a:close/>
                <a:moveTo>
                  <a:pt x="67" y="228"/>
                </a:moveTo>
                <a:cubicBezTo>
                  <a:pt x="67" y="234"/>
                  <a:pt x="63" y="239"/>
                  <a:pt x="57" y="239"/>
                </a:cubicBezTo>
                <a:cubicBezTo>
                  <a:pt x="52" y="239"/>
                  <a:pt x="47" y="234"/>
                  <a:pt x="47" y="228"/>
                </a:cubicBezTo>
                <a:cubicBezTo>
                  <a:pt x="47" y="223"/>
                  <a:pt x="52" y="218"/>
                  <a:pt x="57" y="218"/>
                </a:cubicBezTo>
                <a:cubicBezTo>
                  <a:pt x="63" y="218"/>
                  <a:pt x="67" y="223"/>
                  <a:pt x="67" y="228"/>
                </a:cubicBezTo>
                <a:close/>
                <a:moveTo>
                  <a:pt x="208" y="228"/>
                </a:moveTo>
                <a:cubicBezTo>
                  <a:pt x="208" y="234"/>
                  <a:pt x="204" y="239"/>
                  <a:pt x="198" y="239"/>
                </a:cubicBezTo>
                <a:cubicBezTo>
                  <a:pt x="193" y="239"/>
                  <a:pt x="188" y="234"/>
                  <a:pt x="188" y="228"/>
                </a:cubicBezTo>
                <a:cubicBezTo>
                  <a:pt x="188" y="223"/>
                  <a:pt x="193" y="218"/>
                  <a:pt x="198" y="218"/>
                </a:cubicBezTo>
                <a:cubicBezTo>
                  <a:pt x="204" y="218"/>
                  <a:pt x="208" y="223"/>
                  <a:pt x="208" y="228"/>
                </a:cubicBezTo>
                <a:close/>
                <a:moveTo>
                  <a:pt x="14" y="70"/>
                </a:moveTo>
                <a:cubicBezTo>
                  <a:pt x="10" y="66"/>
                  <a:pt x="9" y="60"/>
                  <a:pt x="13" y="55"/>
                </a:cubicBezTo>
                <a:cubicBezTo>
                  <a:pt x="43" y="20"/>
                  <a:pt x="84" y="0"/>
                  <a:pt x="128" y="0"/>
                </a:cubicBezTo>
                <a:cubicBezTo>
                  <a:pt x="171" y="0"/>
                  <a:pt x="212" y="20"/>
                  <a:pt x="242" y="55"/>
                </a:cubicBezTo>
                <a:cubicBezTo>
                  <a:pt x="246" y="60"/>
                  <a:pt x="246" y="66"/>
                  <a:pt x="241" y="70"/>
                </a:cubicBezTo>
                <a:cubicBezTo>
                  <a:pt x="237" y="74"/>
                  <a:pt x="230" y="74"/>
                  <a:pt x="226" y="69"/>
                </a:cubicBezTo>
                <a:cubicBezTo>
                  <a:pt x="200" y="39"/>
                  <a:pt x="165" y="22"/>
                  <a:pt x="128" y="22"/>
                </a:cubicBezTo>
                <a:cubicBezTo>
                  <a:pt x="90" y="22"/>
                  <a:pt x="55" y="39"/>
                  <a:pt x="29" y="69"/>
                </a:cubicBezTo>
                <a:cubicBezTo>
                  <a:pt x="27" y="72"/>
                  <a:pt x="24" y="73"/>
                  <a:pt x="21" y="73"/>
                </a:cubicBezTo>
                <a:cubicBezTo>
                  <a:pt x="19" y="73"/>
                  <a:pt x="16" y="72"/>
                  <a:pt x="14" y="70"/>
                </a:cubicBezTo>
                <a:close/>
                <a:moveTo>
                  <a:pt x="212" y="89"/>
                </a:moveTo>
                <a:cubicBezTo>
                  <a:pt x="216" y="94"/>
                  <a:pt x="215" y="101"/>
                  <a:pt x="211" y="104"/>
                </a:cubicBezTo>
                <a:cubicBezTo>
                  <a:pt x="206" y="108"/>
                  <a:pt x="200" y="108"/>
                  <a:pt x="196" y="103"/>
                </a:cubicBezTo>
                <a:cubicBezTo>
                  <a:pt x="178" y="82"/>
                  <a:pt x="153" y="70"/>
                  <a:pt x="128" y="70"/>
                </a:cubicBezTo>
                <a:cubicBezTo>
                  <a:pt x="102" y="70"/>
                  <a:pt x="78" y="82"/>
                  <a:pt x="60" y="103"/>
                </a:cubicBezTo>
                <a:cubicBezTo>
                  <a:pt x="57" y="106"/>
                  <a:pt x="54" y="107"/>
                  <a:pt x="51" y="107"/>
                </a:cubicBezTo>
                <a:cubicBezTo>
                  <a:pt x="49" y="107"/>
                  <a:pt x="47" y="106"/>
                  <a:pt x="45" y="104"/>
                </a:cubicBezTo>
                <a:cubicBezTo>
                  <a:pt x="40" y="101"/>
                  <a:pt x="40" y="94"/>
                  <a:pt x="43" y="89"/>
                </a:cubicBezTo>
                <a:cubicBezTo>
                  <a:pt x="66" y="63"/>
                  <a:pt x="96" y="49"/>
                  <a:pt x="128" y="49"/>
                </a:cubicBezTo>
                <a:cubicBezTo>
                  <a:pt x="160" y="49"/>
                  <a:pt x="190" y="63"/>
                  <a:pt x="212" y="8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96E83E02-8CEC-A031-7643-E45B04607B62}"/>
              </a:ext>
            </a:extLst>
          </p:cNvPr>
          <p:cNvCxnSpPr>
            <a:cxnSpLocks/>
          </p:cNvCxnSpPr>
          <p:nvPr/>
        </p:nvCxnSpPr>
        <p:spPr>
          <a:xfrm>
            <a:off x="3483823" y="4678697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81D7A1B9-6D52-16A5-7F1F-43B9320BFBA1}"/>
              </a:ext>
            </a:extLst>
          </p:cNvPr>
          <p:cNvCxnSpPr>
            <a:cxnSpLocks/>
          </p:cNvCxnSpPr>
          <p:nvPr/>
        </p:nvCxnSpPr>
        <p:spPr>
          <a:xfrm>
            <a:off x="3404631" y="3706008"/>
            <a:ext cx="196" cy="190573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61" name="Freeform 252">
            <a:extLst>
              <a:ext uri="{FF2B5EF4-FFF2-40B4-BE49-F238E27FC236}">
                <a16:creationId xmlns:a16="http://schemas.microsoft.com/office/drawing/2014/main" id="{2C9EE29D-9086-B691-D5C9-8C62AB5C923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93396" y="3244012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B82C7049-F640-8A0E-039A-EB3018997FE4}"/>
              </a:ext>
            </a:extLst>
          </p:cNvPr>
          <p:cNvCxnSpPr>
            <a:cxnSpLocks/>
          </p:cNvCxnSpPr>
          <p:nvPr/>
        </p:nvCxnSpPr>
        <p:spPr>
          <a:xfrm flipH="1">
            <a:off x="3184947" y="4678697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4658DE0-52D7-F733-4337-F622FD5F580F}"/>
              </a:ext>
            </a:extLst>
          </p:cNvPr>
          <p:cNvGrpSpPr/>
          <p:nvPr/>
        </p:nvGrpSpPr>
        <p:grpSpPr>
          <a:xfrm>
            <a:off x="4798469" y="3874976"/>
            <a:ext cx="509024" cy="617009"/>
            <a:chOff x="4494098" y="6217765"/>
            <a:chExt cx="549861" cy="682181"/>
          </a:xfrm>
          <a:solidFill>
            <a:sysClr val="windowText" lastClr="000000"/>
          </a:solidFill>
        </p:grpSpPr>
        <p:grpSp>
          <p:nvGrpSpPr>
            <p:cNvPr id="64" name="Group 210">
              <a:extLst>
                <a:ext uri="{FF2B5EF4-FFF2-40B4-BE49-F238E27FC236}">
                  <a16:creationId xmlns:a16="http://schemas.microsoft.com/office/drawing/2014/main" id="{CB4FF744-EDED-2675-8B84-F7AFA59782D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494098" y="6575946"/>
              <a:ext cx="379722" cy="324000"/>
              <a:chOff x="2004" y="804"/>
              <a:chExt cx="184" cy="157"/>
            </a:xfrm>
            <a:grpFill/>
          </p:grpSpPr>
          <p:sp>
            <p:nvSpPr>
              <p:cNvPr id="66" name="Freeform 212">
                <a:extLst>
                  <a:ext uri="{FF2B5EF4-FFF2-40B4-BE49-F238E27FC236}">
                    <a16:creationId xmlns:a16="http://schemas.microsoft.com/office/drawing/2014/main" id="{66560A46-5FA5-686B-2F0B-BED4921CF28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4" y="890"/>
                <a:ext cx="184" cy="71"/>
              </a:xfrm>
              <a:custGeom>
                <a:avLst/>
                <a:gdLst>
                  <a:gd name="T0" fmla="*/ 245 w 277"/>
                  <a:gd name="T1" fmla="*/ 107 h 107"/>
                  <a:gd name="T2" fmla="*/ 32 w 277"/>
                  <a:gd name="T3" fmla="*/ 107 h 107"/>
                  <a:gd name="T4" fmla="*/ 0 w 277"/>
                  <a:gd name="T5" fmla="*/ 75 h 107"/>
                  <a:gd name="T6" fmla="*/ 0 w 277"/>
                  <a:gd name="T7" fmla="*/ 33 h 107"/>
                  <a:gd name="T8" fmla="*/ 32 w 277"/>
                  <a:gd name="T9" fmla="*/ 0 h 107"/>
                  <a:gd name="T10" fmla="*/ 245 w 277"/>
                  <a:gd name="T11" fmla="*/ 0 h 107"/>
                  <a:gd name="T12" fmla="*/ 277 w 277"/>
                  <a:gd name="T13" fmla="*/ 33 h 107"/>
                  <a:gd name="T14" fmla="*/ 277 w 277"/>
                  <a:gd name="T15" fmla="*/ 75 h 107"/>
                  <a:gd name="T16" fmla="*/ 245 w 277"/>
                  <a:gd name="T17" fmla="*/ 107 h 107"/>
                  <a:gd name="T18" fmla="*/ 32 w 277"/>
                  <a:gd name="T19" fmla="*/ 22 h 107"/>
                  <a:gd name="T20" fmla="*/ 21 w 277"/>
                  <a:gd name="T21" fmla="*/ 33 h 107"/>
                  <a:gd name="T22" fmla="*/ 21 w 277"/>
                  <a:gd name="T23" fmla="*/ 75 h 107"/>
                  <a:gd name="T24" fmla="*/ 32 w 277"/>
                  <a:gd name="T25" fmla="*/ 86 h 107"/>
                  <a:gd name="T26" fmla="*/ 245 w 277"/>
                  <a:gd name="T27" fmla="*/ 86 h 107"/>
                  <a:gd name="T28" fmla="*/ 256 w 277"/>
                  <a:gd name="T29" fmla="*/ 75 h 107"/>
                  <a:gd name="T30" fmla="*/ 256 w 277"/>
                  <a:gd name="T31" fmla="*/ 33 h 107"/>
                  <a:gd name="T32" fmla="*/ 245 w 277"/>
                  <a:gd name="T33" fmla="*/ 22 h 107"/>
                  <a:gd name="T34" fmla="*/ 32 w 277"/>
                  <a:gd name="T35" fmla="*/ 2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77" h="107">
                    <a:moveTo>
                      <a:pt x="245" y="107"/>
                    </a:moveTo>
                    <a:cubicBezTo>
                      <a:pt x="32" y="107"/>
                      <a:pt x="32" y="107"/>
                      <a:pt x="32" y="107"/>
                    </a:cubicBezTo>
                    <a:cubicBezTo>
                      <a:pt x="14" y="107"/>
                      <a:pt x="0" y="93"/>
                      <a:pt x="0" y="75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0" y="15"/>
                      <a:pt x="14" y="0"/>
                      <a:pt x="32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63" y="0"/>
                      <a:pt x="277" y="15"/>
                      <a:pt x="277" y="33"/>
                    </a:cubicBezTo>
                    <a:cubicBezTo>
                      <a:pt x="277" y="75"/>
                      <a:pt x="277" y="75"/>
                      <a:pt x="277" y="75"/>
                    </a:cubicBezTo>
                    <a:cubicBezTo>
                      <a:pt x="277" y="93"/>
                      <a:pt x="263" y="107"/>
                      <a:pt x="245" y="107"/>
                    </a:cubicBezTo>
                    <a:close/>
                    <a:moveTo>
                      <a:pt x="32" y="22"/>
                    </a:moveTo>
                    <a:cubicBezTo>
                      <a:pt x="26" y="22"/>
                      <a:pt x="21" y="27"/>
                      <a:pt x="21" y="33"/>
                    </a:cubicBezTo>
                    <a:cubicBezTo>
                      <a:pt x="21" y="75"/>
                      <a:pt x="21" y="75"/>
                      <a:pt x="21" y="75"/>
                    </a:cubicBezTo>
                    <a:cubicBezTo>
                      <a:pt x="21" y="81"/>
                      <a:pt x="26" y="86"/>
                      <a:pt x="32" y="86"/>
                    </a:cubicBezTo>
                    <a:cubicBezTo>
                      <a:pt x="245" y="86"/>
                      <a:pt x="245" y="86"/>
                      <a:pt x="245" y="86"/>
                    </a:cubicBezTo>
                    <a:cubicBezTo>
                      <a:pt x="251" y="86"/>
                      <a:pt x="256" y="81"/>
                      <a:pt x="256" y="75"/>
                    </a:cubicBezTo>
                    <a:cubicBezTo>
                      <a:pt x="256" y="33"/>
                      <a:pt x="256" y="33"/>
                      <a:pt x="256" y="33"/>
                    </a:cubicBezTo>
                    <a:cubicBezTo>
                      <a:pt x="256" y="27"/>
                      <a:pt x="251" y="22"/>
                      <a:pt x="245" y="22"/>
                    </a:cubicBezTo>
                    <a:lnTo>
                      <a:pt x="3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213">
                <a:extLst>
                  <a:ext uri="{FF2B5EF4-FFF2-40B4-BE49-F238E27FC236}">
                    <a16:creationId xmlns:a16="http://schemas.microsoft.com/office/drawing/2014/main" id="{01F7305C-84A0-707D-CAF5-F4F6974BD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" y="804"/>
                <a:ext cx="43" cy="114"/>
              </a:xfrm>
              <a:custGeom>
                <a:avLst/>
                <a:gdLst>
                  <a:gd name="T0" fmla="*/ 11 w 65"/>
                  <a:gd name="T1" fmla="*/ 172 h 172"/>
                  <a:gd name="T2" fmla="*/ 0 w 65"/>
                  <a:gd name="T3" fmla="*/ 161 h 172"/>
                  <a:gd name="T4" fmla="*/ 0 w 65"/>
                  <a:gd name="T5" fmla="*/ 140 h 172"/>
                  <a:gd name="T6" fmla="*/ 1 w 65"/>
                  <a:gd name="T7" fmla="*/ 137 h 172"/>
                  <a:gd name="T8" fmla="*/ 43 w 65"/>
                  <a:gd name="T9" fmla="*/ 9 h 172"/>
                  <a:gd name="T10" fmla="*/ 57 w 65"/>
                  <a:gd name="T11" fmla="*/ 2 h 172"/>
                  <a:gd name="T12" fmla="*/ 63 w 65"/>
                  <a:gd name="T13" fmla="*/ 15 h 172"/>
                  <a:gd name="T14" fmla="*/ 21 w 65"/>
                  <a:gd name="T15" fmla="*/ 142 h 172"/>
                  <a:gd name="T16" fmla="*/ 21 w 65"/>
                  <a:gd name="T17" fmla="*/ 161 h 172"/>
                  <a:gd name="T18" fmla="*/ 11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11" y="172"/>
                    </a:moveTo>
                    <a:cubicBezTo>
                      <a:pt x="5" y="172"/>
                      <a:pt x="0" y="167"/>
                      <a:pt x="0" y="161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39"/>
                      <a:pt x="0" y="138"/>
                      <a:pt x="1" y="137"/>
                    </a:cubicBezTo>
                    <a:cubicBezTo>
                      <a:pt x="43" y="9"/>
                      <a:pt x="43" y="9"/>
                      <a:pt x="43" y="9"/>
                    </a:cubicBezTo>
                    <a:cubicBezTo>
                      <a:pt x="45" y="3"/>
                      <a:pt x="51" y="0"/>
                      <a:pt x="57" y="2"/>
                    </a:cubicBezTo>
                    <a:cubicBezTo>
                      <a:pt x="62" y="4"/>
                      <a:pt x="65" y="10"/>
                      <a:pt x="63" y="15"/>
                    </a:cubicBezTo>
                    <a:cubicBezTo>
                      <a:pt x="21" y="142"/>
                      <a:pt x="21" y="142"/>
                      <a:pt x="21" y="142"/>
                    </a:cubicBezTo>
                    <a:cubicBezTo>
                      <a:pt x="21" y="161"/>
                      <a:pt x="21" y="161"/>
                      <a:pt x="21" y="161"/>
                    </a:cubicBezTo>
                    <a:cubicBezTo>
                      <a:pt x="21" y="167"/>
                      <a:pt x="17" y="172"/>
                      <a:pt x="11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214">
                <a:extLst>
                  <a:ext uri="{FF2B5EF4-FFF2-40B4-BE49-F238E27FC236}">
                    <a16:creationId xmlns:a16="http://schemas.microsoft.com/office/drawing/2014/main" id="{C9A6F88E-AAE7-6767-5200-DD7D760E4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5" y="804"/>
                <a:ext cx="43" cy="114"/>
              </a:xfrm>
              <a:custGeom>
                <a:avLst/>
                <a:gdLst>
                  <a:gd name="T0" fmla="*/ 55 w 65"/>
                  <a:gd name="T1" fmla="*/ 172 h 172"/>
                  <a:gd name="T2" fmla="*/ 44 w 65"/>
                  <a:gd name="T3" fmla="*/ 161 h 172"/>
                  <a:gd name="T4" fmla="*/ 44 w 65"/>
                  <a:gd name="T5" fmla="*/ 142 h 172"/>
                  <a:gd name="T6" fmla="*/ 2 w 65"/>
                  <a:gd name="T7" fmla="*/ 15 h 172"/>
                  <a:gd name="T8" fmla="*/ 9 w 65"/>
                  <a:gd name="T9" fmla="*/ 2 h 172"/>
                  <a:gd name="T10" fmla="*/ 22 w 65"/>
                  <a:gd name="T11" fmla="*/ 9 h 172"/>
                  <a:gd name="T12" fmla="*/ 65 w 65"/>
                  <a:gd name="T13" fmla="*/ 137 h 172"/>
                  <a:gd name="T14" fmla="*/ 65 w 65"/>
                  <a:gd name="T15" fmla="*/ 140 h 172"/>
                  <a:gd name="T16" fmla="*/ 65 w 65"/>
                  <a:gd name="T17" fmla="*/ 161 h 172"/>
                  <a:gd name="T18" fmla="*/ 55 w 65"/>
                  <a:gd name="T19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72">
                    <a:moveTo>
                      <a:pt x="55" y="172"/>
                    </a:moveTo>
                    <a:cubicBezTo>
                      <a:pt x="49" y="172"/>
                      <a:pt x="44" y="167"/>
                      <a:pt x="44" y="161"/>
                    </a:cubicBezTo>
                    <a:cubicBezTo>
                      <a:pt x="44" y="142"/>
                      <a:pt x="44" y="142"/>
                      <a:pt x="44" y="142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0"/>
                      <a:pt x="3" y="4"/>
                      <a:pt x="9" y="2"/>
                    </a:cubicBezTo>
                    <a:cubicBezTo>
                      <a:pt x="14" y="0"/>
                      <a:pt x="20" y="3"/>
                      <a:pt x="22" y="9"/>
                    </a:cubicBezTo>
                    <a:cubicBezTo>
                      <a:pt x="65" y="137"/>
                      <a:pt x="65" y="137"/>
                      <a:pt x="65" y="137"/>
                    </a:cubicBezTo>
                    <a:cubicBezTo>
                      <a:pt x="65" y="138"/>
                      <a:pt x="65" y="139"/>
                      <a:pt x="65" y="140"/>
                    </a:cubicBezTo>
                    <a:cubicBezTo>
                      <a:pt x="65" y="161"/>
                      <a:pt x="65" y="161"/>
                      <a:pt x="65" y="161"/>
                    </a:cubicBezTo>
                    <a:cubicBezTo>
                      <a:pt x="65" y="167"/>
                      <a:pt x="61" y="172"/>
                      <a:pt x="55" y="1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 215">
                <a:extLst>
                  <a:ext uri="{FF2B5EF4-FFF2-40B4-BE49-F238E27FC236}">
                    <a16:creationId xmlns:a16="http://schemas.microsoft.com/office/drawing/2014/main" id="{E6FD2D8D-3E80-BB4B-85F8-DBCD610BE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" y="805"/>
                <a:ext cx="127" cy="14"/>
              </a:xfrm>
              <a:custGeom>
                <a:avLst/>
                <a:gdLst>
                  <a:gd name="T0" fmla="*/ 181 w 192"/>
                  <a:gd name="T1" fmla="*/ 22 h 22"/>
                  <a:gd name="T2" fmla="*/ 10 w 192"/>
                  <a:gd name="T3" fmla="*/ 22 h 22"/>
                  <a:gd name="T4" fmla="*/ 0 w 192"/>
                  <a:gd name="T5" fmla="*/ 11 h 22"/>
                  <a:gd name="T6" fmla="*/ 10 w 192"/>
                  <a:gd name="T7" fmla="*/ 0 h 22"/>
                  <a:gd name="T8" fmla="*/ 181 w 192"/>
                  <a:gd name="T9" fmla="*/ 0 h 22"/>
                  <a:gd name="T10" fmla="*/ 192 w 192"/>
                  <a:gd name="T11" fmla="*/ 11 h 22"/>
                  <a:gd name="T12" fmla="*/ 181 w 192"/>
                  <a:gd name="T1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2" h="22">
                    <a:moveTo>
                      <a:pt x="181" y="22"/>
                    </a:moveTo>
                    <a:cubicBezTo>
                      <a:pt x="10" y="22"/>
                      <a:pt x="10" y="22"/>
                      <a:pt x="10" y="22"/>
                    </a:cubicBezTo>
                    <a:cubicBezTo>
                      <a:pt x="4" y="22"/>
                      <a:pt x="0" y="17"/>
                      <a:pt x="0" y="11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87" y="0"/>
                      <a:pt x="192" y="5"/>
                      <a:pt x="192" y="11"/>
                    </a:cubicBezTo>
                    <a:cubicBezTo>
                      <a:pt x="192" y="17"/>
                      <a:pt x="187" y="22"/>
                      <a:pt x="18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 216">
                <a:extLst>
                  <a:ext uri="{FF2B5EF4-FFF2-40B4-BE49-F238E27FC236}">
                    <a16:creationId xmlns:a16="http://schemas.microsoft.com/office/drawing/2014/main" id="{4DFBC6EF-ECD1-1EFB-5782-BDA715CBE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6" y="918"/>
                <a:ext cx="14" cy="14"/>
              </a:xfrm>
              <a:custGeom>
                <a:avLst/>
                <a:gdLst>
                  <a:gd name="T0" fmla="*/ 11 w 22"/>
                  <a:gd name="T1" fmla="*/ 22 h 22"/>
                  <a:gd name="T2" fmla="*/ 3 w 22"/>
                  <a:gd name="T3" fmla="*/ 19 h 22"/>
                  <a:gd name="T4" fmla="*/ 1 w 22"/>
                  <a:gd name="T5" fmla="*/ 16 h 22"/>
                  <a:gd name="T6" fmla="*/ 0 w 22"/>
                  <a:gd name="T7" fmla="*/ 12 h 22"/>
                  <a:gd name="T8" fmla="*/ 1 w 22"/>
                  <a:gd name="T9" fmla="*/ 8 h 22"/>
                  <a:gd name="T10" fmla="*/ 3 w 22"/>
                  <a:gd name="T11" fmla="*/ 4 h 22"/>
                  <a:gd name="T12" fmla="*/ 5 w 22"/>
                  <a:gd name="T13" fmla="*/ 3 h 22"/>
                  <a:gd name="T14" fmla="*/ 7 w 22"/>
                  <a:gd name="T15" fmla="*/ 2 h 22"/>
                  <a:gd name="T16" fmla="*/ 9 w 22"/>
                  <a:gd name="T17" fmla="*/ 1 h 22"/>
                  <a:gd name="T18" fmla="*/ 19 w 22"/>
                  <a:gd name="T19" fmla="*/ 4 h 22"/>
                  <a:gd name="T20" fmla="*/ 21 w 22"/>
                  <a:gd name="T21" fmla="*/ 8 h 22"/>
                  <a:gd name="T22" fmla="*/ 22 w 22"/>
                  <a:gd name="T23" fmla="*/ 12 h 22"/>
                  <a:gd name="T24" fmla="*/ 21 w 22"/>
                  <a:gd name="T25" fmla="*/ 16 h 22"/>
                  <a:gd name="T26" fmla="*/ 19 w 22"/>
                  <a:gd name="T27" fmla="*/ 19 h 22"/>
                  <a:gd name="T28" fmla="*/ 15 w 22"/>
                  <a:gd name="T29" fmla="*/ 21 h 22"/>
                  <a:gd name="T30" fmla="*/ 11 w 22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2">
                    <a:moveTo>
                      <a:pt x="11" y="22"/>
                    </a:moveTo>
                    <a:cubicBezTo>
                      <a:pt x="8" y="22"/>
                      <a:pt x="5" y="21"/>
                      <a:pt x="3" y="19"/>
                    </a:cubicBezTo>
                    <a:cubicBezTo>
                      <a:pt x="2" y="18"/>
                      <a:pt x="2" y="17"/>
                      <a:pt x="1" y="16"/>
                    </a:cubicBezTo>
                    <a:cubicBezTo>
                      <a:pt x="1" y="14"/>
                      <a:pt x="0" y="13"/>
                      <a:pt x="0" y="12"/>
                    </a:cubicBezTo>
                    <a:cubicBezTo>
                      <a:pt x="0" y="10"/>
                      <a:pt x="1" y="9"/>
                      <a:pt x="1" y="8"/>
                    </a:cubicBezTo>
                    <a:cubicBezTo>
                      <a:pt x="2" y="6"/>
                      <a:pt x="2" y="5"/>
                      <a:pt x="3" y="4"/>
                    </a:cubicBezTo>
                    <a:cubicBezTo>
                      <a:pt x="4" y="4"/>
                      <a:pt x="4" y="3"/>
                      <a:pt x="5" y="3"/>
                    </a:cubicBezTo>
                    <a:cubicBezTo>
                      <a:pt x="6" y="2"/>
                      <a:pt x="6" y="2"/>
                      <a:pt x="7" y="2"/>
                    </a:cubicBezTo>
                    <a:cubicBezTo>
                      <a:pt x="8" y="2"/>
                      <a:pt x="8" y="1"/>
                      <a:pt x="9" y="1"/>
                    </a:cubicBezTo>
                    <a:cubicBezTo>
                      <a:pt x="12" y="0"/>
                      <a:pt x="16" y="2"/>
                      <a:pt x="19" y="4"/>
                    </a:cubicBezTo>
                    <a:cubicBezTo>
                      <a:pt x="20" y="5"/>
                      <a:pt x="20" y="6"/>
                      <a:pt x="21" y="8"/>
                    </a:cubicBezTo>
                    <a:cubicBezTo>
                      <a:pt x="21" y="9"/>
                      <a:pt x="22" y="10"/>
                      <a:pt x="22" y="12"/>
                    </a:cubicBezTo>
                    <a:cubicBezTo>
                      <a:pt x="22" y="13"/>
                      <a:pt x="21" y="14"/>
                      <a:pt x="21" y="16"/>
                    </a:cubicBezTo>
                    <a:cubicBezTo>
                      <a:pt x="20" y="17"/>
                      <a:pt x="20" y="18"/>
                      <a:pt x="19" y="19"/>
                    </a:cubicBezTo>
                    <a:cubicBezTo>
                      <a:pt x="18" y="20"/>
                      <a:pt x="16" y="21"/>
                      <a:pt x="15" y="21"/>
                    </a:cubicBezTo>
                    <a:cubicBezTo>
                      <a:pt x="14" y="22"/>
                      <a:pt x="12" y="22"/>
                      <a:pt x="1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 217">
                <a:extLst>
                  <a:ext uri="{FF2B5EF4-FFF2-40B4-BE49-F238E27FC236}">
                    <a16:creationId xmlns:a16="http://schemas.microsoft.com/office/drawing/2014/main" id="{E1994E26-E810-795E-EF01-93FA4626B8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918"/>
                <a:ext cx="14" cy="14"/>
              </a:xfrm>
              <a:custGeom>
                <a:avLst/>
                <a:gdLst>
                  <a:gd name="T0" fmla="*/ 10 w 21"/>
                  <a:gd name="T1" fmla="*/ 22 h 22"/>
                  <a:gd name="T2" fmla="*/ 6 w 21"/>
                  <a:gd name="T3" fmla="*/ 21 h 22"/>
                  <a:gd name="T4" fmla="*/ 3 w 21"/>
                  <a:gd name="T5" fmla="*/ 19 h 22"/>
                  <a:gd name="T6" fmla="*/ 1 w 21"/>
                  <a:gd name="T7" fmla="*/ 16 h 22"/>
                  <a:gd name="T8" fmla="*/ 0 w 21"/>
                  <a:gd name="T9" fmla="*/ 12 h 22"/>
                  <a:gd name="T10" fmla="*/ 1 w 21"/>
                  <a:gd name="T11" fmla="*/ 8 h 22"/>
                  <a:gd name="T12" fmla="*/ 3 w 21"/>
                  <a:gd name="T13" fmla="*/ 4 h 22"/>
                  <a:gd name="T14" fmla="*/ 12 w 21"/>
                  <a:gd name="T15" fmla="*/ 1 h 22"/>
                  <a:gd name="T16" fmla="*/ 14 w 21"/>
                  <a:gd name="T17" fmla="*/ 2 h 22"/>
                  <a:gd name="T18" fmla="*/ 16 w 21"/>
                  <a:gd name="T19" fmla="*/ 3 h 22"/>
                  <a:gd name="T20" fmla="*/ 18 w 21"/>
                  <a:gd name="T21" fmla="*/ 4 h 22"/>
                  <a:gd name="T22" fmla="*/ 20 w 21"/>
                  <a:gd name="T23" fmla="*/ 8 h 22"/>
                  <a:gd name="T24" fmla="*/ 21 w 21"/>
                  <a:gd name="T25" fmla="*/ 12 h 22"/>
                  <a:gd name="T26" fmla="*/ 20 w 21"/>
                  <a:gd name="T27" fmla="*/ 16 h 22"/>
                  <a:gd name="T28" fmla="*/ 18 w 21"/>
                  <a:gd name="T29" fmla="*/ 19 h 22"/>
                  <a:gd name="T30" fmla="*/ 10 w 21"/>
                  <a:gd name="T3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22">
                    <a:moveTo>
                      <a:pt x="10" y="22"/>
                    </a:moveTo>
                    <a:cubicBezTo>
                      <a:pt x="9" y="22"/>
                      <a:pt x="8" y="22"/>
                      <a:pt x="6" y="21"/>
                    </a:cubicBezTo>
                    <a:cubicBezTo>
                      <a:pt x="5" y="21"/>
                      <a:pt x="4" y="20"/>
                      <a:pt x="3" y="19"/>
                    </a:cubicBezTo>
                    <a:cubicBezTo>
                      <a:pt x="2" y="18"/>
                      <a:pt x="1" y="17"/>
                      <a:pt x="1" y="16"/>
                    </a:cubicBezTo>
                    <a:cubicBezTo>
                      <a:pt x="0" y="14"/>
                      <a:pt x="0" y="13"/>
                      <a:pt x="0" y="12"/>
                    </a:cubicBezTo>
                    <a:cubicBezTo>
                      <a:pt x="0" y="10"/>
                      <a:pt x="0" y="9"/>
                      <a:pt x="1" y="8"/>
                    </a:cubicBezTo>
                    <a:cubicBezTo>
                      <a:pt x="1" y="6"/>
                      <a:pt x="2" y="5"/>
                      <a:pt x="3" y="4"/>
                    </a:cubicBezTo>
                    <a:cubicBezTo>
                      <a:pt x="5" y="2"/>
                      <a:pt x="9" y="0"/>
                      <a:pt x="12" y="1"/>
                    </a:cubicBezTo>
                    <a:cubicBezTo>
                      <a:pt x="13" y="1"/>
                      <a:pt x="14" y="2"/>
                      <a:pt x="14" y="2"/>
                    </a:cubicBezTo>
                    <a:cubicBezTo>
                      <a:pt x="15" y="2"/>
                      <a:pt x="16" y="2"/>
                      <a:pt x="16" y="3"/>
                    </a:cubicBezTo>
                    <a:cubicBezTo>
                      <a:pt x="17" y="3"/>
                      <a:pt x="17" y="4"/>
                      <a:pt x="18" y="4"/>
                    </a:cubicBezTo>
                    <a:cubicBezTo>
                      <a:pt x="19" y="5"/>
                      <a:pt x="20" y="6"/>
                      <a:pt x="20" y="8"/>
                    </a:cubicBezTo>
                    <a:cubicBezTo>
                      <a:pt x="21" y="9"/>
                      <a:pt x="21" y="10"/>
                      <a:pt x="21" y="12"/>
                    </a:cubicBezTo>
                    <a:cubicBezTo>
                      <a:pt x="21" y="13"/>
                      <a:pt x="21" y="14"/>
                      <a:pt x="20" y="16"/>
                    </a:cubicBezTo>
                    <a:cubicBezTo>
                      <a:pt x="20" y="17"/>
                      <a:pt x="19" y="18"/>
                      <a:pt x="18" y="19"/>
                    </a:cubicBezTo>
                    <a:cubicBezTo>
                      <a:pt x="16" y="21"/>
                      <a:pt x="13" y="22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65" name="Freeform 683">
              <a:extLst>
                <a:ext uri="{FF2B5EF4-FFF2-40B4-BE49-F238E27FC236}">
                  <a16:creationId xmlns:a16="http://schemas.microsoft.com/office/drawing/2014/main" id="{DB06D693-2814-4FE9-3F67-BCC8007499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959" y="6217765"/>
              <a:ext cx="360000" cy="432000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2" name="Freeform 885">
            <a:extLst>
              <a:ext uri="{FF2B5EF4-FFF2-40B4-BE49-F238E27FC236}">
                <a16:creationId xmlns:a16="http://schemas.microsoft.com/office/drawing/2014/main" id="{AC3DDC6B-9DF5-45D5-F7A5-F99CA50EAD0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18440" y="4970087"/>
            <a:ext cx="333922" cy="394637"/>
          </a:xfrm>
          <a:custGeom>
            <a:avLst/>
            <a:gdLst>
              <a:gd name="T0" fmla="*/ 234 w 256"/>
              <a:gd name="T1" fmla="*/ 171 h 310"/>
              <a:gd name="T2" fmla="*/ 208 w 256"/>
              <a:gd name="T3" fmla="*/ 160 h 310"/>
              <a:gd name="T4" fmla="*/ 200 w 256"/>
              <a:gd name="T5" fmla="*/ 133 h 310"/>
              <a:gd name="T6" fmla="*/ 96 w 256"/>
              <a:gd name="T7" fmla="*/ 107 h 310"/>
              <a:gd name="T8" fmla="*/ 53 w 256"/>
              <a:gd name="T9" fmla="*/ 136 h 310"/>
              <a:gd name="T10" fmla="*/ 32 w 256"/>
              <a:gd name="T11" fmla="*/ 160 h 310"/>
              <a:gd name="T12" fmla="*/ 25 w 256"/>
              <a:gd name="T13" fmla="*/ 179 h 310"/>
              <a:gd name="T14" fmla="*/ 0 w 256"/>
              <a:gd name="T15" fmla="*/ 245 h 310"/>
              <a:gd name="T16" fmla="*/ 10 w 256"/>
              <a:gd name="T17" fmla="*/ 265 h 310"/>
              <a:gd name="T18" fmla="*/ 21 w 256"/>
              <a:gd name="T19" fmla="*/ 310 h 310"/>
              <a:gd name="T20" fmla="*/ 74 w 256"/>
              <a:gd name="T21" fmla="*/ 299 h 310"/>
              <a:gd name="T22" fmla="*/ 128 w 256"/>
              <a:gd name="T23" fmla="*/ 288 h 310"/>
              <a:gd name="T24" fmla="*/ 181 w 256"/>
              <a:gd name="T25" fmla="*/ 299 h 310"/>
              <a:gd name="T26" fmla="*/ 234 w 256"/>
              <a:gd name="T27" fmla="*/ 310 h 310"/>
              <a:gd name="T28" fmla="*/ 245 w 256"/>
              <a:gd name="T29" fmla="*/ 265 h 310"/>
              <a:gd name="T30" fmla="*/ 256 w 256"/>
              <a:gd name="T31" fmla="*/ 245 h 310"/>
              <a:gd name="T32" fmla="*/ 230 w 256"/>
              <a:gd name="T33" fmla="*/ 179 h 310"/>
              <a:gd name="T34" fmla="*/ 160 w 256"/>
              <a:gd name="T35" fmla="*/ 128 h 310"/>
              <a:gd name="T36" fmla="*/ 189 w 256"/>
              <a:gd name="T37" fmla="*/ 171 h 310"/>
              <a:gd name="T38" fmla="*/ 73 w 256"/>
              <a:gd name="T39" fmla="*/ 144 h 310"/>
              <a:gd name="T40" fmla="*/ 53 w 256"/>
              <a:gd name="T41" fmla="*/ 288 h 310"/>
              <a:gd name="T42" fmla="*/ 32 w 256"/>
              <a:gd name="T43" fmla="*/ 277 h 310"/>
              <a:gd name="T44" fmla="*/ 53 w 256"/>
              <a:gd name="T45" fmla="*/ 288 h 310"/>
              <a:gd name="T46" fmla="*/ 21 w 256"/>
              <a:gd name="T47" fmla="*/ 224 h 310"/>
              <a:gd name="T48" fmla="*/ 202 w 256"/>
              <a:gd name="T49" fmla="*/ 192 h 310"/>
              <a:gd name="T50" fmla="*/ 234 w 256"/>
              <a:gd name="T51" fmla="*/ 245 h 310"/>
              <a:gd name="T52" fmla="*/ 21 w 256"/>
              <a:gd name="T53" fmla="*/ 245 h 310"/>
              <a:gd name="T54" fmla="*/ 202 w 256"/>
              <a:gd name="T55" fmla="*/ 288 h 310"/>
              <a:gd name="T56" fmla="*/ 224 w 256"/>
              <a:gd name="T57" fmla="*/ 277 h 310"/>
              <a:gd name="T58" fmla="*/ 160 w 256"/>
              <a:gd name="T59" fmla="*/ 224 h 310"/>
              <a:gd name="T60" fmla="*/ 106 w 256"/>
              <a:gd name="T61" fmla="*/ 235 h 310"/>
              <a:gd name="T62" fmla="*/ 106 w 256"/>
              <a:gd name="T63" fmla="*/ 214 h 310"/>
              <a:gd name="T64" fmla="*/ 160 w 256"/>
              <a:gd name="T65" fmla="*/ 224 h 310"/>
              <a:gd name="T66" fmla="*/ 57 w 256"/>
              <a:gd name="T67" fmla="*/ 239 h 310"/>
              <a:gd name="T68" fmla="*/ 57 w 256"/>
              <a:gd name="T69" fmla="*/ 218 h 310"/>
              <a:gd name="T70" fmla="*/ 208 w 256"/>
              <a:gd name="T71" fmla="*/ 228 h 310"/>
              <a:gd name="T72" fmla="*/ 188 w 256"/>
              <a:gd name="T73" fmla="*/ 228 h 310"/>
              <a:gd name="T74" fmla="*/ 208 w 256"/>
              <a:gd name="T75" fmla="*/ 228 h 310"/>
              <a:gd name="T76" fmla="*/ 13 w 256"/>
              <a:gd name="T77" fmla="*/ 55 h 310"/>
              <a:gd name="T78" fmla="*/ 242 w 256"/>
              <a:gd name="T79" fmla="*/ 55 h 310"/>
              <a:gd name="T80" fmla="*/ 226 w 256"/>
              <a:gd name="T81" fmla="*/ 69 h 310"/>
              <a:gd name="T82" fmla="*/ 29 w 256"/>
              <a:gd name="T83" fmla="*/ 69 h 310"/>
              <a:gd name="T84" fmla="*/ 14 w 256"/>
              <a:gd name="T85" fmla="*/ 70 h 310"/>
              <a:gd name="T86" fmla="*/ 211 w 256"/>
              <a:gd name="T87" fmla="*/ 104 h 310"/>
              <a:gd name="T88" fmla="*/ 128 w 256"/>
              <a:gd name="T89" fmla="*/ 70 h 310"/>
              <a:gd name="T90" fmla="*/ 51 w 256"/>
              <a:gd name="T91" fmla="*/ 107 h 310"/>
              <a:gd name="T92" fmla="*/ 43 w 256"/>
              <a:gd name="T93" fmla="*/ 89 h 310"/>
              <a:gd name="T94" fmla="*/ 212 w 256"/>
              <a:gd name="T95" fmla="*/ 89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6" h="310">
                <a:moveTo>
                  <a:pt x="230" y="179"/>
                </a:moveTo>
                <a:cubicBezTo>
                  <a:pt x="233" y="177"/>
                  <a:pt x="234" y="175"/>
                  <a:pt x="234" y="171"/>
                </a:cubicBezTo>
                <a:cubicBezTo>
                  <a:pt x="234" y="165"/>
                  <a:pt x="230" y="160"/>
                  <a:pt x="224" y="160"/>
                </a:cubicBezTo>
                <a:cubicBezTo>
                  <a:pt x="208" y="160"/>
                  <a:pt x="208" y="160"/>
                  <a:pt x="208" y="160"/>
                </a:cubicBezTo>
                <a:cubicBezTo>
                  <a:pt x="202" y="136"/>
                  <a:pt x="202" y="136"/>
                  <a:pt x="202" y="136"/>
                </a:cubicBezTo>
                <a:cubicBezTo>
                  <a:pt x="202" y="135"/>
                  <a:pt x="201" y="134"/>
                  <a:pt x="200" y="133"/>
                </a:cubicBezTo>
                <a:cubicBezTo>
                  <a:pt x="198" y="130"/>
                  <a:pt x="180" y="107"/>
                  <a:pt x="160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75" y="107"/>
                  <a:pt x="57" y="130"/>
                  <a:pt x="55" y="133"/>
                </a:cubicBezTo>
                <a:cubicBezTo>
                  <a:pt x="54" y="134"/>
                  <a:pt x="54" y="135"/>
                  <a:pt x="53" y="136"/>
                </a:cubicBezTo>
                <a:cubicBezTo>
                  <a:pt x="47" y="160"/>
                  <a:pt x="47" y="160"/>
                  <a:pt x="47" y="160"/>
                </a:cubicBezTo>
                <a:cubicBezTo>
                  <a:pt x="32" y="160"/>
                  <a:pt x="32" y="160"/>
                  <a:pt x="32" y="160"/>
                </a:cubicBezTo>
                <a:cubicBezTo>
                  <a:pt x="26" y="160"/>
                  <a:pt x="21" y="165"/>
                  <a:pt x="21" y="171"/>
                </a:cubicBezTo>
                <a:cubicBezTo>
                  <a:pt x="21" y="175"/>
                  <a:pt x="23" y="177"/>
                  <a:pt x="25" y="179"/>
                </a:cubicBezTo>
                <a:cubicBezTo>
                  <a:pt x="10" y="189"/>
                  <a:pt x="0" y="206"/>
                  <a:pt x="0" y="224"/>
                </a:cubicBezTo>
                <a:cubicBezTo>
                  <a:pt x="0" y="245"/>
                  <a:pt x="0" y="245"/>
                  <a:pt x="0" y="245"/>
                </a:cubicBezTo>
                <a:cubicBezTo>
                  <a:pt x="0" y="248"/>
                  <a:pt x="0" y="255"/>
                  <a:pt x="6" y="262"/>
                </a:cubicBezTo>
                <a:cubicBezTo>
                  <a:pt x="8" y="263"/>
                  <a:pt x="9" y="264"/>
                  <a:pt x="10" y="265"/>
                </a:cubicBezTo>
                <a:cubicBezTo>
                  <a:pt x="10" y="299"/>
                  <a:pt x="10" y="299"/>
                  <a:pt x="10" y="299"/>
                </a:cubicBezTo>
                <a:cubicBezTo>
                  <a:pt x="10" y="305"/>
                  <a:pt x="15" y="310"/>
                  <a:pt x="21" y="310"/>
                </a:cubicBezTo>
                <a:cubicBezTo>
                  <a:pt x="64" y="310"/>
                  <a:pt x="64" y="310"/>
                  <a:pt x="64" y="310"/>
                </a:cubicBezTo>
                <a:cubicBezTo>
                  <a:pt x="70" y="310"/>
                  <a:pt x="74" y="305"/>
                  <a:pt x="74" y="299"/>
                </a:cubicBezTo>
                <a:cubicBezTo>
                  <a:pt x="74" y="286"/>
                  <a:pt x="74" y="286"/>
                  <a:pt x="74" y="286"/>
                </a:cubicBezTo>
                <a:cubicBezTo>
                  <a:pt x="90" y="287"/>
                  <a:pt x="107" y="288"/>
                  <a:pt x="128" y="288"/>
                </a:cubicBezTo>
                <a:cubicBezTo>
                  <a:pt x="148" y="288"/>
                  <a:pt x="165" y="287"/>
                  <a:pt x="181" y="286"/>
                </a:cubicBezTo>
                <a:cubicBezTo>
                  <a:pt x="181" y="299"/>
                  <a:pt x="181" y="299"/>
                  <a:pt x="181" y="299"/>
                </a:cubicBezTo>
                <a:cubicBezTo>
                  <a:pt x="181" y="305"/>
                  <a:pt x="186" y="310"/>
                  <a:pt x="192" y="310"/>
                </a:cubicBezTo>
                <a:cubicBezTo>
                  <a:pt x="234" y="310"/>
                  <a:pt x="234" y="310"/>
                  <a:pt x="234" y="310"/>
                </a:cubicBezTo>
                <a:cubicBezTo>
                  <a:pt x="240" y="310"/>
                  <a:pt x="245" y="305"/>
                  <a:pt x="245" y="299"/>
                </a:cubicBezTo>
                <a:cubicBezTo>
                  <a:pt x="245" y="265"/>
                  <a:pt x="245" y="265"/>
                  <a:pt x="245" y="265"/>
                </a:cubicBezTo>
                <a:cubicBezTo>
                  <a:pt x="246" y="264"/>
                  <a:pt x="248" y="263"/>
                  <a:pt x="249" y="262"/>
                </a:cubicBezTo>
                <a:cubicBezTo>
                  <a:pt x="255" y="255"/>
                  <a:pt x="256" y="248"/>
                  <a:pt x="256" y="245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56" y="206"/>
                  <a:pt x="245" y="189"/>
                  <a:pt x="230" y="179"/>
                </a:cubicBezTo>
                <a:close/>
                <a:moveTo>
                  <a:pt x="96" y="128"/>
                </a:moveTo>
                <a:cubicBezTo>
                  <a:pt x="160" y="128"/>
                  <a:pt x="160" y="128"/>
                  <a:pt x="160" y="128"/>
                </a:cubicBezTo>
                <a:cubicBezTo>
                  <a:pt x="166" y="128"/>
                  <a:pt x="176" y="137"/>
                  <a:pt x="182" y="144"/>
                </a:cubicBezTo>
                <a:cubicBezTo>
                  <a:pt x="189" y="171"/>
                  <a:pt x="189" y="171"/>
                  <a:pt x="189" y="171"/>
                </a:cubicBezTo>
                <a:cubicBezTo>
                  <a:pt x="67" y="171"/>
                  <a:pt x="67" y="171"/>
                  <a:pt x="67" y="171"/>
                </a:cubicBezTo>
                <a:cubicBezTo>
                  <a:pt x="73" y="144"/>
                  <a:pt x="73" y="144"/>
                  <a:pt x="73" y="144"/>
                </a:cubicBezTo>
                <a:cubicBezTo>
                  <a:pt x="79" y="137"/>
                  <a:pt x="89" y="128"/>
                  <a:pt x="96" y="128"/>
                </a:cubicBezTo>
                <a:close/>
                <a:moveTo>
                  <a:pt x="53" y="288"/>
                </a:moveTo>
                <a:cubicBezTo>
                  <a:pt x="32" y="288"/>
                  <a:pt x="32" y="288"/>
                  <a:pt x="32" y="288"/>
                </a:cubicBezTo>
                <a:cubicBezTo>
                  <a:pt x="32" y="277"/>
                  <a:pt x="32" y="277"/>
                  <a:pt x="32" y="277"/>
                </a:cubicBezTo>
                <a:cubicBezTo>
                  <a:pt x="38" y="279"/>
                  <a:pt x="45" y="281"/>
                  <a:pt x="53" y="282"/>
                </a:cubicBezTo>
                <a:lnTo>
                  <a:pt x="53" y="288"/>
                </a:lnTo>
                <a:close/>
                <a:moveTo>
                  <a:pt x="21" y="245"/>
                </a:moveTo>
                <a:cubicBezTo>
                  <a:pt x="21" y="224"/>
                  <a:pt x="21" y="224"/>
                  <a:pt x="21" y="224"/>
                </a:cubicBezTo>
                <a:cubicBezTo>
                  <a:pt x="21" y="208"/>
                  <a:pt x="37" y="192"/>
                  <a:pt x="53" y="192"/>
                </a:cubicBezTo>
                <a:cubicBezTo>
                  <a:pt x="202" y="192"/>
                  <a:pt x="202" y="192"/>
                  <a:pt x="202" y="192"/>
                </a:cubicBezTo>
                <a:cubicBezTo>
                  <a:pt x="219" y="192"/>
                  <a:pt x="234" y="208"/>
                  <a:pt x="234" y="224"/>
                </a:cubicBezTo>
                <a:cubicBezTo>
                  <a:pt x="234" y="245"/>
                  <a:pt x="234" y="245"/>
                  <a:pt x="234" y="245"/>
                </a:cubicBezTo>
                <a:cubicBezTo>
                  <a:pt x="233" y="247"/>
                  <a:pt x="222" y="267"/>
                  <a:pt x="128" y="267"/>
                </a:cubicBezTo>
                <a:cubicBezTo>
                  <a:pt x="34" y="267"/>
                  <a:pt x="22" y="247"/>
                  <a:pt x="21" y="245"/>
                </a:cubicBezTo>
                <a:close/>
                <a:moveTo>
                  <a:pt x="224" y="288"/>
                </a:moveTo>
                <a:cubicBezTo>
                  <a:pt x="202" y="288"/>
                  <a:pt x="202" y="288"/>
                  <a:pt x="202" y="288"/>
                </a:cubicBezTo>
                <a:cubicBezTo>
                  <a:pt x="202" y="282"/>
                  <a:pt x="202" y="282"/>
                  <a:pt x="202" y="282"/>
                </a:cubicBezTo>
                <a:cubicBezTo>
                  <a:pt x="210" y="281"/>
                  <a:pt x="217" y="279"/>
                  <a:pt x="224" y="277"/>
                </a:cubicBezTo>
                <a:lnTo>
                  <a:pt x="224" y="288"/>
                </a:lnTo>
                <a:close/>
                <a:moveTo>
                  <a:pt x="160" y="224"/>
                </a:moveTo>
                <a:cubicBezTo>
                  <a:pt x="160" y="230"/>
                  <a:pt x="155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30"/>
                  <a:pt x="96" y="224"/>
                </a:cubicBezTo>
                <a:cubicBezTo>
                  <a:pt x="96" y="218"/>
                  <a:pt x="100" y="214"/>
                  <a:pt x="106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55" y="214"/>
                  <a:pt x="160" y="218"/>
                  <a:pt x="160" y="224"/>
                </a:cubicBezTo>
                <a:close/>
                <a:moveTo>
                  <a:pt x="67" y="228"/>
                </a:moveTo>
                <a:cubicBezTo>
                  <a:pt x="67" y="234"/>
                  <a:pt x="63" y="239"/>
                  <a:pt x="57" y="239"/>
                </a:cubicBezTo>
                <a:cubicBezTo>
                  <a:pt x="52" y="239"/>
                  <a:pt x="47" y="234"/>
                  <a:pt x="47" y="228"/>
                </a:cubicBezTo>
                <a:cubicBezTo>
                  <a:pt x="47" y="223"/>
                  <a:pt x="52" y="218"/>
                  <a:pt x="57" y="218"/>
                </a:cubicBezTo>
                <a:cubicBezTo>
                  <a:pt x="63" y="218"/>
                  <a:pt x="67" y="223"/>
                  <a:pt x="67" y="228"/>
                </a:cubicBezTo>
                <a:close/>
                <a:moveTo>
                  <a:pt x="208" y="228"/>
                </a:moveTo>
                <a:cubicBezTo>
                  <a:pt x="208" y="234"/>
                  <a:pt x="204" y="239"/>
                  <a:pt x="198" y="239"/>
                </a:cubicBezTo>
                <a:cubicBezTo>
                  <a:pt x="193" y="239"/>
                  <a:pt x="188" y="234"/>
                  <a:pt x="188" y="228"/>
                </a:cubicBezTo>
                <a:cubicBezTo>
                  <a:pt x="188" y="223"/>
                  <a:pt x="193" y="218"/>
                  <a:pt x="198" y="218"/>
                </a:cubicBezTo>
                <a:cubicBezTo>
                  <a:pt x="204" y="218"/>
                  <a:pt x="208" y="223"/>
                  <a:pt x="208" y="228"/>
                </a:cubicBezTo>
                <a:close/>
                <a:moveTo>
                  <a:pt x="14" y="70"/>
                </a:moveTo>
                <a:cubicBezTo>
                  <a:pt x="10" y="66"/>
                  <a:pt x="9" y="60"/>
                  <a:pt x="13" y="55"/>
                </a:cubicBezTo>
                <a:cubicBezTo>
                  <a:pt x="43" y="20"/>
                  <a:pt x="84" y="0"/>
                  <a:pt x="128" y="0"/>
                </a:cubicBezTo>
                <a:cubicBezTo>
                  <a:pt x="171" y="0"/>
                  <a:pt x="212" y="20"/>
                  <a:pt x="242" y="55"/>
                </a:cubicBezTo>
                <a:cubicBezTo>
                  <a:pt x="246" y="60"/>
                  <a:pt x="246" y="66"/>
                  <a:pt x="241" y="70"/>
                </a:cubicBezTo>
                <a:cubicBezTo>
                  <a:pt x="237" y="74"/>
                  <a:pt x="230" y="74"/>
                  <a:pt x="226" y="69"/>
                </a:cubicBezTo>
                <a:cubicBezTo>
                  <a:pt x="200" y="39"/>
                  <a:pt x="165" y="22"/>
                  <a:pt x="128" y="22"/>
                </a:cubicBezTo>
                <a:cubicBezTo>
                  <a:pt x="90" y="22"/>
                  <a:pt x="55" y="39"/>
                  <a:pt x="29" y="69"/>
                </a:cubicBezTo>
                <a:cubicBezTo>
                  <a:pt x="27" y="72"/>
                  <a:pt x="24" y="73"/>
                  <a:pt x="21" y="73"/>
                </a:cubicBezTo>
                <a:cubicBezTo>
                  <a:pt x="19" y="73"/>
                  <a:pt x="16" y="72"/>
                  <a:pt x="14" y="70"/>
                </a:cubicBezTo>
                <a:close/>
                <a:moveTo>
                  <a:pt x="212" y="89"/>
                </a:moveTo>
                <a:cubicBezTo>
                  <a:pt x="216" y="94"/>
                  <a:pt x="215" y="101"/>
                  <a:pt x="211" y="104"/>
                </a:cubicBezTo>
                <a:cubicBezTo>
                  <a:pt x="206" y="108"/>
                  <a:pt x="200" y="108"/>
                  <a:pt x="196" y="103"/>
                </a:cubicBezTo>
                <a:cubicBezTo>
                  <a:pt x="178" y="82"/>
                  <a:pt x="153" y="70"/>
                  <a:pt x="128" y="70"/>
                </a:cubicBezTo>
                <a:cubicBezTo>
                  <a:pt x="102" y="70"/>
                  <a:pt x="78" y="82"/>
                  <a:pt x="60" y="103"/>
                </a:cubicBezTo>
                <a:cubicBezTo>
                  <a:pt x="57" y="106"/>
                  <a:pt x="54" y="107"/>
                  <a:pt x="51" y="107"/>
                </a:cubicBezTo>
                <a:cubicBezTo>
                  <a:pt x="49" y="107"/>
                  <a:pt x="47" y="106"/>
                  <a:pt x="45" y="104"/>
                </a:cubicBezTo>
                <a:cubicBezTo>
                  <a:pt x="40" y="101"/>
                  <a:pt x="40" y="94"/>
                  <a:pt x="43" y="89"/>
                </a:cubicBezTo>
                <a:cubicBezTo>
                  <a:pt x="66" y="63"/>
                  <a:pt x="96" y="49"/>
                  <a:pt x="128" y="49"/>
                </a:cubicBezTo>
                <a:cubicBezTo>
                  <a:pt x="160" y="49"/>
                  <a:pt x="190" y="63"/>
                  <a:pt x="212" y="8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792D6EA3-0386-4D14-C8AC-9A30ACD63164}"/>
              </a:ext>
            </a:extLst>
          </p:cNvPr>
          <p:cNvCxnSpPr>
            <a:cxnSpLocks/>
          </p:cNvCxnSpPr>
          <p:nvPr/>
        </p:nvCxnSpPr>
        <p:spPr>
          <a:xfrm>
            <a:off x="5050645" y="4678697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2B466B0D-5429-7C22-C5C9-5F29A53DB6E1}"/>
              </a:ext>
            </a:extLst>
          </p:cNvPr>
          <p:cNvCxnSpPr>
            <a:cxnSpLocks/>
          </p:cNvCxnSpPr>
          <p:nvPr/>
        </p:nvCxnSpPr>
        <p:spPr>
          <a:xfrm flipH="1">
            <a:off x="4485401" y="4678697"/>
            <a:ext cx="266612" cy="152458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6CAA6123-C143-CBAF-9B55-299502E01F0F}"/>
              </a:ext>
            </a:extLst>
          </p:cNvPr>
          <p:cNvCxnSpPr/>
          <p:nvPr/>
        </p:nvCxnSpPr>
        <p:spPr>
          <a:xfrm>
            <a:off x="3400005" y="5197198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05CF809B-9A32-D179-F9CA-5B8DA8F55DC3}"/>
              </a:ext>
            </a:extLst>
          </p:cNvPr>
          <p:cNvCxnSpPr/>
          <p:nvPr/>
        </p:nvCxnSpPr>
        <p:spPr>
          <a:xfrm>
            <a:off x="4014547" y="5225135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62998112-5F14-9C35-1003-65A880676862}"/>
              </a:ext>
            </a:extLst>
          </p:cNvPr>
          <p:cNvCxnSpPr/>
          <p:nvPr/>
        </p:nvCxnSpPr>
        <p:spPr>
          <a:xfrm>
            <a:off x="4821212" y="5206140"/>
            <a:ext cx="216000" cy="0"/>
          </a:xfrm>
          <a:prstGeom prst="straightConnector1">
            <a:avLst/>
          </a:prstGeom>
          <a:noFill/>
          <a:ln w="3175" cap="flat" cmpd="sng" algn="ctr">
            <a:solidFill>
              <a:srgbClr val="4472C4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78" name="Freeform 270">
            <a:extLst>
              <a:ext uri="{FF2B5EF4-FFF2-40B4-BE49-F238E27FC236}">
                <a16:creationId xmlns:a16="http://schemas.microsoft.com/office/drawing/2014/main" id="{A2F0C121-1CB2-B91C-70AF-9945129BD9A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20363" y="3244011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9A216A17-0D37-25CD-09A8-964656FAD1DB}"/>
              </a:ext>
            </a:extLst>
          </p:cNvPr>
          <p:cNvCxnSpPr>
            <a:cxnSpLocks/>
          </p:cNvCxnSpPr>
          <p:nvPr/>
        </p:nvCxnSpPr>
        <p:spPr>
          <a:xfrm>
            <a:off x="4927724" y="3706008"/>
            <a:ext cx="196" cy="190573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80" name="Freeform 460">
            <a:extLst>
              <a:ext uri="{FF2B5EF4-FFF2-40B4-BE49-F238E27FC236}">
                <a16:creationId xmlns:a16="http://schemas.microsoft.com/office/drawing/2014/main" id="{E29F3D83-E066-6E74-F1C8-8FF5E482A449}"/>
              </a:ext>
            </a:extLst>
          </p:cNvPr>
          <p:cNvSpPr>
            <a:spLocks noEditPoints="1"/>
          </p:cNvSpPr>
          <p:nvPr/>
        </p:nvSpPr>
        <p:spPr bwMode="auto">
          <a:xfrm>
            <a:off x="3080268" y="5506451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1" name="Freeform 460">
            <a:extLst>
              <a:ext uri="{FF2B5EF4-FFF2-40B4-BE49-F238E27FC236}">
                <a16:creationId xmlns:a16="http://schemas.microsoft.com/office/drawing/2014/main" id="{465EE1A3-70E6-97DF-8FB3-038A0299F2B4}"/>
              </a:ext>
            </a:extLst>
          </p:cNvPr>
          <p:cNvSpPr>
            <a:spLocks noEditPoints="1"/>
          </p:cNvSpPr>
          <p:nvPr/>
        </p:nvSpPr>
        <p:spPr bwMode="auto">
          <a:xfrm>
            <a:off x="3724760" y="5506451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2" name="Freeform 460">
            <a:extLst>
              <a:ext uri="{FF2B5EF4-FFF2-40B4-BE49-F238E27FC236}">
                <a16:creationId xmlns:a16="http://schemas.microsoft.com/office/drawing/2014/main" id="{FC57C6F7-F52D-34E9-F453-5F649AC16F38}"/>
              </a:ext>
            </a:extLst>
          </p:cNvPr>
          <p:cNvSpPr>
            <a:spLocks noEditPoints="1"/>
          </p:cNvSpPr>
          <p:nvPr/>
        </p:nvSpPr>
        <p:spPr bwMode="auto">
          <a:xfrm>
            <a:off x="4388583" y="5506451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3" name="Freeform 460">
            <a:extLst>
              <a:ext uri="{FF2B5EF4-FFF2-40B4-BE49-F238E27FC236}">
                <a16:creationId xmlns:a16="http://schemas.microsoft.com/office/drawing/2014/main" id="{7F7F8BEA-74C0-C9A1-37A9-7684084514D5}"/>
              </a:ext>
            </a:extLst>
          </p:cNvPr>
          <p:cNvSpPr>
            <a:spLocks noEditPoints="1"/>
          </p:cNvSpPr>
          <p:nvPr/>
        </p:nvSpPr>
        <p:spPr bwMode="auto">
          <a:xfrm>
            <a:off x="5327238" y="5506451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4" name="Freeform 460">
            <a:extLst>
              <a:ext uri="{FF2B5EF4-FFF2-40B4-BE49-F238E27FC236}">
                <a16:creationId xmlns:a16="http://schemas.microsoft.com/office/drawing/2014/main" id="{2E6ADD49-F794-95B1-C845-843A0ADD96D4}"/>
              </a:ext>
            </a:extLst>
          </p:cNvPr>
          <p:cNvSpPr>
            <a:spLocks noEditPoints="1"/>
          </p:cNvSpPr>
          <p:nvPr/>
        </p:nvSpPr>
        <p:spPr bwMode="auto">
          <a:xfrm>
            <a:off x="5690544" y="5506452"/>
            <a:ext cx="209359" cy="260931"/>
          </a:xfrm>
          <a:custGeom>
            <a:avLst/>
            <a:gdLst>
              <a:gd name="T0" fmla="*/ 224 w 234"/>
              <a:gd name="T1" fmla="*/ 0 h 299"/>
              <a:gd name="T2" fmla="*/ 10 w 234"/>
              <a:gd name="T3" fmla="*/ 0 h 299"/>
              <a:gd name="T4" fmla="*/ 0 w 234"/>
              <a:gd name="T5" fmla="*/ 11 h 299"/>
              <a:gd name="T6" fmla="*/ 0 w 234"/>
              <a:gd name="T7" fmla="*/ 288 h 299"/>
              <a:gd name="T8" fmla="*/ 10 w 234"/>
              <a:gd name="T9" fmla="*/ 299 h 299"/>
              <a:gd name="T10" fmla="*/ 224 w 234"/>
              <a:gd name="T11" fmla="*/ 299 h 299"/>
              <a:gd name="T12" fmla="*/ 234 w 234"/>
              <a:gd name="T13" fmla="*/ 288 h 299"/>
              <a:gd name="T14" fmla="*/ 234 w 234"/>
              <a:gd name="T15" fmla="*/ 11 h 299"/>
              <a:gd name="T16" fmla="*/ 224 w 234"/>
              <a:gd name="T17" fmla="*/ 0 h 299"/>
              <a:gd name="T18" fmla="*/ 213 w 234"/>
              <a:gd name="T19" fmla="*/ 277 h 299"/>
              <a:gd name="T20" fmla="*/ 21 w 234"/>
              <a:gd name="T21" fmla="*/ 277 h 299"/>
              <a:gd name="T22" fmla="*/ 21 w 234"/>
              <a:gd name="T23" fmla="*/ 21 h 299"/>
              <a:gd name="T24" fmla="*/ 213 w 234"/>
              <a:gd name="T25" fmla="*/ 21 h 299"/>
              <a:gd name="T26" fmla="*/ 213 w 234"/>
              <a:gd name="T27" fmla="*/ 277 h 299"/>
              <a:gd name="T28" fmla="*/ 128 w 234"/>
              <a:gd name="T29" fmla="*/ 245 h 299"/>
              <a:gd name="T30" fmla="*/ 117 w 234"/>
              <a:gd name="T31" fmla="*/ 256 h 299"/>
              <a:gd name="T32" fmla="*/ 106 w 234"/>
              <a:gd name="T33" fmla="*/ 245 h 299"/>
              <a:gd name="T34" fmla="*/ 117 w 234"/>
              <a:gd name="T35" fmla="*/ 235 h 299"/>
              <a:gd name="T36" fmla="*/ 128 w 234"/>
              <a:gd name="T37" fmla="*/ 245 h 299"/>
              <a:gd name="T38" fmla="*/ 42 w 234"/>
              <a:gd name="T39" fmla="*/ 213 h 299"/>
              <a:gd name="T40" fmla="*/ 192 w 234"/>
              <a:gd name="T41" fmla="*/ 213 h 299"/>
              <a:gd name="T42" fmla="*/ 202 w 234"/>
              <a:gd name="T43" fmla="*/ 203 h 299"/>
              <a:gd name="T44" fmla="*/ 202 w 234"/>
              <a:gd name="T45" fmla="*/ 43 h 299"/>
              <a:gd name="T46" fmla="*/ 192 w 234"/>
              <a:gd name="T47" fmla="*/ 32 h 299"/>
              <a:gd name="T48" fmla="*/ 42 w 234"/>
              <a:gd name="T49" fmla="*/ 32 h 299"/>
              <a:gd name="T50" fmla="*/ 32 w 234"/>
              <a:gd name="T51" fmla="*/ 43 h 299"/>
              <a:gd name="T52" fmla="*/ 32 w 234"/>
              <a:gd name="T53" fmla="*/ 203 h 299"/>
              <a:gd name="T54" fmla="*/ 42 w 234"/>
              <a:gd name="T55" fmla="*/ 213 h 299"/>
              <a:gd name="T56" fmla="*/ 53 w 234"/>
              <a:gd name="T57" fmla="*/ 53 h 299"/>
              <a:gd name="T58" fmla="*/ 181 w 234"/>
              <a:gd name="T59" fmla="*/ 53 h 299"/>
              <a:gd name="T60" fmla="*/ 181 w 234"/>
              <a:gd name="T61" fmla="*/ 192 h 299"/>
              <a:gd name="T62" fmla="*/ 53 w 234"/>
              <a:gd name="T63" fmla="*/ 192 h 299"/>
              <a:gd name="T64" fmla="*/ 53 w 234"/>
              <a:gd name="T65" fmla="*/ 5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4" h="299">
                <a:moveTo>
                  <a:pt x="224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294"/>
                  <a:pt x="4" y="299"/>
                  <a:pt x="10" y="299"/>
                </a:cubicBezTo>
                <a:cubicBezTo>
                  <a:pt x="224" y="299"/>
                  <a:pt x="224" y="299"/>
                  <a:pt x="224" y="299"/>
                </a:cubicBezTo>
                <a:cubicBezTo>
                  <a:pt x="230" y="299"/>
                  <a:pt x="234" y="294"/>
                  <a:pt x="234" y="288"/>
                </a:cubicBezTo>
                <a:cubicBezTo>
                  <a:pt x="234" y="11"/>
                  <a:pt x="234" y="11"/>
                  <a:pt x="234" y="11"/>
                </a:cubicBezTo>
                <a:cubicBezTo>
                  <a:pt x="234" y="5"/>
                  <a:pt x="230" y="0"/>
                  <a:pt x="224" y="0"/>
                </a:cubicBezTo>
                <a:close/>
                <a:moveTo>
                  <a:pt x="213" y="277"/>
                </a:moveTo>
                <a:cubicBezTo>
                  <a:pt x="21" y="277"/>
                  <a:pt x="21" y="277"/>
                  <a:pt x="21" y="277"/>
                </a:cubicBezTo>
                <a:cubicBezTo>
                  <a:pt x="21" y="21"/>
                  <a:pt x="21" y="21"/>
                  <a:pt x="21" y="21"/>
                </a:cubicBezTo>
                <a:cubicBezTo>
                  <a:pt x="213" y="21"/>
                  <a:pt x="213" y="21"/>
                  <a:pt x="213" y="21"/>
                </a:cubicBezTo>
                <a:lnTo>
                  <a:pt x="213" y="277"/>
                </a:lnTo>
                <a:close/>
                <a:moveTo>
                  <a:pt x="128" y="245"/>
                </a:moveTo>
                <a:cubicBezTo>
                  <a:pt x="128" y="251"/>
                  <a:pt x="123" y="256"/>
                  <a:pt x="117" y="256"/>
                </a:cubicBezTo>
                <a:cubicBezTo>
                  <a:pt x="111" y="256"/>
                  <a:pt x="106" y="251"/>
                  <a:pt x="106" y="245"/>
                </a:cubicBezTo>
                <a:cubicBezTo>
                  <a:pt x="106" y="239"/>
                  <a:pt x="111" y="235"/>
                  <a:pt x="117" y="235"/>
                </a:cubicBezTo>
                <a:cubicBezTo>
                  <a:pt x="123" y="235"/>
                  <a:pt x="128" y="239"/>
                  <a:pt x="128" y="245"/>
                </a:cubicBezTo>
                <a:close/>
                <a:moveTo>
                  <a:pt x="42" y="213"/>
                </a:moveTo>
                <a:cubicBezTo>
                  <a:pt x="192" y="213"/>
                  <a:pt x="192" y="213"/>
                  <a:pt x="192" y="213"/>
                </a:cubicBezTo>
                <a:cubicBezTo>
                  <a:pt x="198" y="213"/>
                  <a:pt x="202" y="209"/>
                  <a:pt x="202" y="203"/>
                </a:cubicBezTo>
                <a:cubicBezTo>
                  <a:pt x="202" y="43"/>
                  <a:pt x="202" y="43"/>
                  <a:pt x="202" y="43"/>
                </a:cubicBezTo>
                <a:cubicBezTo>
                  <a:pt x="202" y="37"/>
                  <a:pt x="198" y="32"/>
                  <a:pt x="192" y="32"/>
                </a:cubicBezTo>
                <a:cubicBezTo>
                  <a:pt x="42" y="32"/>
                  <a:pt x="42" y="32"/>
                  <a:pt x="42" y="32"/>
                </a:cubicBezTo>
                <a:cubicBezTo>
                  <a:pt x="36" y="32"/>
                  <a:pt x="32" y="37"/>
                  <a:pt x="32" y="43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32" y="209"/>
                  <a:pt x="36" y="213"/>
                  <a:pt x="42" y="213"/>
                </a:cubicBezTo>
                <a:close/>
                <a:moveTo>
                  <a:pt x="53" y="53"/>
                </a:moveTo>
                <a:cubicBezTo>
                  <a:pt x="181" y="53"/>
                  <a:pt x="181" y="53"/>
                  <a:pt x="181" y="53"/>
                </a:cubicBezTo>
                <a:cubicBezTo>
                  <a:pt x="181" y="192"/>
                  <a:pt x="181" y="192"/>
                  <a:pt x="181" y="192"/>
                </a:cubicBezTo>
                <a:cubicBezTo>
                  <a:pt x="53" y="192"/>
                  <a:pt x="53" y="192"/>
                  <a:pt x="53" y="192"/>
                </a:cubicBezTo>
                <a:lnTo>
                  <a:pt x="53" y="53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5" name="Freeform 281">
            <a:extLst>
              <a:ext uri="{FF2B5EF4-FFF2-40B4-BE49-F238E27FC236}">
                <a16:creationId xmlns:a16="http://schemas.microsoft.com/office/drawing/2014/main" id="{CE5382A5-499E-F3BE-E1E4-C1F6D109220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39662" y="3244011"/>
            <a:ext cx="350284" cy="394636"/>
          </a:xfrm>
          <a:custGeom>
            <a:avLst/>
            <a:gdLst>
              <a:gd name="T0" fmla="*/ 2147483646 w 235"/>
              <a:gd name="T1" fmla="*/ 2147483646 h 320"/>
              <a:gd name="T2" fmla="*/ 2147483646 w 235"/>
              <a:gd name="T3" fmla="*/ 2147483646 h 320"/>
              <a:gd name="T4" fmla="*/ 2147483646 w 235"/>
              <a:gd name="T5" fmla="*/ 2147483646 h 320"/>
              <a:gd name="T6" fmla="*/ 2147483646 w 235"/>
              <a:gd name="T7" fmla="*/ 2147483646 h 320"/>
              <a:gd name="T8" fmla="*/ 2147483646 w 235"/>
              <a:gd name="T9" fmla="*/ 2147483646 h 320"/>
              <a:gd name="T10" fmla="*/ 2147483646 w 235"/>
              <a:gd name="T11" fmla="*/ 2147483646 h 320"/>
              <a:gd name="T12" fmla="*/ 2147483646 w 235"/>
              <a:gd name="T13" fmla="*/ 2147483646 h 320"/>
              <a:gd name="T14" fmla="*/ 2147483646 w 235"/>
              <a:gd name="T15" fmla="*/ 2147483646 h 320"/>
              <a:gd name="T16" fmla="*/ 2147483646 w 235"/>
              <a:gd name="T17" fmla="*/ 2147483646 h 320"/>
              <a:gd name="T18" fmla="*/ 2147483646 w 235"/>
              <a:gd name="T19" fmla="*/ 2147483646 h 320"/>
              <a:gd name="T20" fmla="*/ 2147483646 w 235"/>
              <a:gd name="T21" fmla="*/ 2147483646 h 320"/>
              <a:gd name="T22" fmla="*/ 2147483646 w 235"/>
              <a:gd name="T23" fmla="*/ 2147483646 h 320"/>
              <a:gd name="T24" fmla="*/ 2147483646 w 235"/>
              <a:gd name="T25" fmla="*/ 2147483646 h 320"/>
              <a:gd name="T26" fmla="*/ 2147483646 w 235"/>
              <a:gd name="T27" fmla="*/ 2147483646 h 320"/>
              <a:gd name="T28" fmla="*/ 2147483646 w 235"/>
              <a:gd name="T29" fmla="*/ 2147483646 h 320"/>
              <a:gd name="T30" fmla="*/ 2147483646 w 235"/>
              <a:gd name="T31" fmla="*/ 2147483646 h 320"/>
              <a:gd name="T32" fmla="*/ 2147483646 w 235"/>
              <a:gd name="T33" fmla="*/ 2147483646 h 320"/>
              <a:gd name="T34" fmla="*/ 2147483646 w 235"/>
              <a:gd name="T35" fmla="*/ 2147483646 h 320"/>
              <a:gd name="T36" fmla="*/ 2147483646 w 235"/>
              <a:gd name="T37" fmla="*/ 2147483646 h 320"/>
              <a:gd name="T38" fmla="*/ 2147483646 w 235"/>
              <a:gd name="T39" fmla="*/ 2147483646 h 320"/>
              <a:gd name="T40" fmla="*/ 2147483646 w 235"/>
              <a:gd name="T41" fmla="*/ 2147483646 h 320"/>
              <a:gd name="T42" fmla="*/ 2147483646 w 235"/>
              <a:gd name="T43" fmla="*/ 2147483646 h 320"/>
              <a:gd name="T44" fmla="*/ 2147483646 w 235"/>
              <a:gd name="T45" fmla="*/ 2147483646 h 320"/>
              <a:gd name="T46" fmla="*/ 2147483646 w 235"/>
              <a:gd name="T47" fmla="*/ 2147483646 h 320"/>
              <a:gd name="T48" fmla="*/ 2147483646 w 235"/>
              <a:gd name="T49" fmla="*/ 2147483646 h 320"/>
              <a:gd name="T50" fmla="*/ 2147483646 w 235"/>
              <a:gd name="T51" fmla="*/ 2147483646 h 320"/>
              <a:gd name="T52" fmla="*/ 2147483646 w 235"/>
              <a:gd name="T53" fmla="*/ 2147483646 h 320"/>
              <a:gd name="T54" fmla="*/ 2147483646 w 235"/>
              <a:gd name="T55" fmla="*/ 2147483646 h 320"/>
              <a:gd name="T56" fmla="*/ 2147483646 w 235"/>
              <a:gd name="T57" fmla="*/ 2147483646 h 320"/>
              <a:gd name="T58" fmla="*/ 2147483646 w 235"/>
              <a:gd name="T59" fmla="*/ 2147483646 h 320"/>
              <a:gd name="T60" fmla="*/ 2147483646 w 235"/>
              <a:gd name="T61" fmla="*/ 2147483646 h 320"/>
              <a:gd name="T62" fmla="*/ 2147483646 w 235"/>
              <a:gd name="T63" fmla="*/ 2147483646 h 320"/>
              <a:gd name="T64" fmla="*/ 2147483646 w 235"/>
              <a:gd name="T65" fmla="*/ 2147483646 h 320"/>
              <a:gd name="T66" fmla="*/ 2147483646 w 235"/>
              <a:gd name="T67" fmla="*/ 2147483646 h 320"/>
              <a:gd name="T68" fmla="*/ 2147483646 w 235"/>
              <a:gd name="T69" fmla="*/ 2147483646 h 320"/>
              <a:gd name="T70" fmla="*/ 2147483646 w 235"/>
              <a:gd name="T71" fmla="*/ 2147483646 h 320"/>
              <a:gd name="T72" fmla="*/ 2147483646 w 235"/>
              <a:gd name="T73" fmla="*/ 2147483646 h 320"/>
              <a:gd name="T74" fmla="*/ 2147483646 w 235"/>
              <a:gd name="T75" fmla="*/ 2147483646 h 320"/>
              <a:gd name="T76" fmla="*/ 2147483646 w 235"/>
              <a:gd name="T77" fmla="*/ 2147483646 h 320"/>
              <a:gd name="T78" fmla="*/ 2147483646 w 235"/>
              <a:gd name="T79" fmla="*/ 2147483646 h 320"/>
              <a:gd name="T80" fmla="*/ 2147483646 w 235"/>
              <a:gd name="T81" fmla="*/ 2147483646 h 320"/>
              <a:gd name="T82" fmla="*/ 2147483646 w 235"/>
              <a:gd name="T83" fmla="*/ 2147483646 h 320"/>
              <a:gd name="T84" fmla="*/ 2147483646 w 235"/>
              <a:gd name="T85" fmla="*/ 2147483646 h 320"/>
              <a:gd name="T86" fmla="*/ 2147483646 w 235"/>
              <a:gd name="T87" fmla="*/ 2147483646 h 320"/>
              <a:gd name="T88" fmla="*/ 2147483646 w 235"/>
              <a:gd name="T89" fmla="*/ 2147483646 h 320"/>
              <a:gd name="T90" fmla="*/ 2147483646 w 235"/>
              <a:gd name="T91" fmla="*/ 2147483646 h 320"/>
              <a:gd name="T92" fmla="*/ 2147483646 w 235"/>
              <a:gd name="T93" fmla="*/ 2147483646 h 320"/>
              <a:gd name="T94" fmla="*/ 2147483646 w 235"/>
              <a:gd name="T95" fmla="*/ 2147483646 h 320"/>
              <a:gd name="T96" fmla="*/ 2147483646 w 235"/>
              <a:gd name="T97" fmla="*/ 2147483646 h 320"/>
              <a:gd name="T98" fmla="*/ 2147483646 w 235"/>
              <a:gd name="T99" fmla="*/ 2147483646 h 320"/>
              <a:gd name="T100" fmla="*/ 0 w 235"/>
              <a:gd name="T101" fmla="*/ 2147483646 h 320"/>
              <a:gd name="T102" fmla="*/ 2147483646 w 235"/>
              <a:gd name="T103" fmla="*/ 2147483646 h 320"/>
              <a:gd name="T104" fmla="*/ 2147483646 w 235"/>
              <a:gd name="T105" fmla="*/ 2147483646 h 320"/>
              <a:gd name="T106" fmla="*/ 2147483646 w 235"/>
              <a:gd name="T107" fmla="*/ 2147483646 h 320"/>
              <a:gd name="T108" fmla="*/ 2147483646 w 235"/>
              <a:gd name="T109" fmla="*/ 2147483646 h 320"/>
              <a:gd name="T110" fmla="*/ 2147483646 w 235"/>
              <a:gd name="T111" fmla="*/ 2147483646 h 320"/>
              <a:gd name="T112" fmla="*/ 2147483646 w 235"/>
              <a:gd name="T113" fmla="*/ 2147483646 h 32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ysClr val="windowText" lastClr="000000"/>
          </a:solidFill>
          <a:ln w="3175">
            <a:noFill/>
            <a:round/>
            <a:headEnd/>
            <a:tailEnd/>
          </a:ln>
        </p:spPr>
        <p:txBody>
          <a:bodyPr/>
          <a:lstStyle>
            <a:defPPr>
              <a:defRPr lang="cs-CZ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F1ADE9FA-B972-BDF8-3B6E-B42B6D4129DB}"/>
              </a:ext>
            </a:extLst>
          </p:cNvPr>
          <p:cNvCxnSpPr/>
          <p:nvPr/>
        </p:nvCxnSpPr>
        <p:spPr>
          <a:xfrm flipH="1">
            <a:off x="5807579" y="3718396"/>
            <a:ext cx="12479" cy="1551701"/>
          </a:xfrm>
          <a:prstGeom prst="straightConnector1">
            <a:avLst/>
          </a:prstGeom>
          <a:noFill/>
          <a:ln w="3175" cap="flat" cmpd="sng" algn="ctr">
            <a:solidFill>
              <a:srgbClr val="70AD47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cxnSp>
        <p:nvCxnSpPr>
          <p:cNvPr id="87" name="Straight Arrow Connector 76">
            <a:extLst>
              <a:ext uri="{FF2B5EF4-FFF2-40B4-BE49-F238E27FC236}">
                <a16:creationId xmlns:a16="http://schemas.microsoft.com/office/drawing/2014/main" id="{4009684C-B3D0-8FEA-8B66-682E60AEA7B9}"/>
              </a:ext>
            </a:extLst>
          </p:cNvPr>
          <p:cNvCxnSpPr>
            <a:cxnSpLocks/>
          </p:cNvCxnSpPr>
          <p:nvPr/>
        </p:nvCxnSpPr>
        <p:spPr>
          <a:xfrm flipH="1">
            <a:off x="5482727" y="3737119"/>
            <a:ext cx="195056" cy="1061984"/>
          </a:xfrm>
          <a:prstGeom prst="straightConnector1">
            <a:avLst/>
          </a:prstGeom>
          <a:noFill/>
          <a:ln w="3175" cap="flat" cmpd="sng" algn="ctr">
            <a:solidFill>
              <a:srgbClr val="70AD47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88" name="Freeform 506">
            <a:extLst>
              <a:ext uri="{FF2B5EF4-FFF2-40B4-BE49-F238E27FC236}">
                <a16:creationId xmlns:a16="http://schemas.microsoft.com/office/drawing/2014/main" id="{F92C0B1B-90E0-21E9-1E24-0A75A04D13E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71684" y="5013571"/>
            <a:ext cx="315512" cy="390729"/>
          </a:xfrm>
          <a:custGeom>
            <a:avLst/>
            <a:gdLst>
              <a:gd name="T0" fmla="*/ 76 w 237"/>
              <a:gd name="T1" fmla="*/ 117 h 299"/>
              <a:gd name="T2" fmla="*/ 161 w 237"/>
              <a:gd name="T3" fmla="*/ 117 h 299"/>
              <a:gd name="T4" fmla="*/ 183 w 237"/>
              <a:gd name="T5" fmla="*/ 96 h 299"/>
              <a:gd name="T6" fmla="*/ 183 w 237"/>
              <a:gd name="T7" fmla="*/ 64 h 299"/>
              <a:gd name="T8" fmla="*/ 161 w 237"/>
              <a:gd name="T9" fmla="*/ 43 h 299"/>
              <a:gd name="T10" fmla="*/ 76 w 237"/>
              <a:gd name="T11" fmla="*/ 43 h 299"/>
              <a:gd name="T12" fmla="*/ 55 w 237"/>
              <a:gd name="T13" fmla="*/ 64 h 299"/>
              <a:gd name="T14" fmla="*/ 55 w 237"/>
              <a:gd name="T15" fmla="*/ 96 h 299"/>
              <a:gd name="T16" fmla="*/ 76 w 237"/>
              <a:gd name="T17" fmla="*/ 117 h 299"/>
              <a:gd name="T18" fmla="*/ 76 w 237"/>
              <a:gd name="T19" fmla="*/ 64 h 299"/>
              <a:gd name="T20" fmla="*/ 161 w 237"/>
              <a:gd name="T21" fmla="*/ 64 h 299"/>
              <a:gd name="T22" fmla="*/ 161 w 237"/>
              <a:gd name="T23" fmla="*/ 96 h 299"/>
              <a:gd name="T24" fmla="*/ 76 w 237"/>
              <a:gd name="T25" fmla="*/ 96 h 299"/>
              <a:gd name="T26" fmla="*/ 76 w 237"/>
              <a:gd name="T27" fmla="*/ 64 h 299"/>
              <a:gd name="T28" fmla="*/ 76 w 237"/>
              <a:gd name="T29" fmla="*/ 192 h 299"/>
              <a:gd name="T30" fmla="*/ 55 w 237"/>
              <a:gd name="T31" fmla="*/ 171 h 299"/>
              <a:gd name="T32" fmla="*/ 76 w 237"/>
              <a:gd name="T33" fmla="*/ 149 h 299"/>
              <a:gd name="T34" fmla="*/ 97 w 237"/>
              <a:gd name="T35" fmla="*/ 171 h 299"/>
              <a:gd name="T36" fmla="*/ 76 w 237"/>
              <a:gd name="T37" fmla="*/ 192 h 299"/>
              <a:gd name="T38" fmla="*/ 183 w 237"/>
              <a:gd name="T39" fmla="*/ 171 h 299"/>
              <a:gd name="T40" fmla="*/ 161 w 237"/>
              <a:gd name="T41" fmla="*/ 192 h 299"/>
              <a:gd name="T42" fmla="*/ 140 w 237"/>
              <a:gd name="T43" fmla="*/ 171 h 299"/>
              <a:gd name="T44" fmla="*/ 161 w 237"/>
              <a:gd name="T45" fmla="*/ 149 h 299"/>
              <a:gd name="T46" fmla="*/ 183 w 237"/>
              <a:gd name="T47" fmla="*/ 171 h 299"/>
              <a:gd name="T48" fmla="*/ 233 w 237"/>
              <a:gd name="T49" fmla="*/ 280 h 299"/>
              <a:gd name="T50" fmla="*/ 183 w 237"/>
              <a:gd name="T51" fmla="*/ 231 h 299"/>
              <a:gd name="T52" fmla="*/ 225 w 237"/>
              <a:gd name="T53" fmla="*/ 181 h 299"/>
              <a:gd name="T54" fmla="*/ 225 w 237"/>
              <a:gd name="T55" fmla="*/ 53 h 299"/>
              <a:gd name="T56" fmla="*/ 172 w 237"/>
              <a:gd name="T57" fmla="*/ 0 h 299"/>
              <a:gd name="T58" fmla="*/ 65 w 237"/>
              <a:gd name="T59" fmla="*/ 0 h 299"/>
              <a:gd name="T60" fmla="*/ 12 w 237"/>
              <a:gd name="T61" fmla="*/ 53 h 299"/>
              <a:gd name="T62" fmla="*/ 12 w 237"/>
              <a:gd name="T63" fmla="*/ 181 h 299"/>
              <a:gd name="T64" fmla="*/ 52 w 237"/>
              <a:gd name="T65" fmla="*/ 233 h 299"/>
              <a:gd name="T66" fmla="*/ 4 w 237"/>
              <a:gd name="T67" fmla="*/ 280 h 299"/>
              <a:gd name="T68" fmla="*/ 4 w 237"/>
              <a:gd name="T69" fmla="*/ 296 h 299"/>
              <a:gd name="T70" fmla="*/ 12 w 237"/>
              <a:gd name="T71" fmla="*/ 299 h 299"/>
              <a:gd name="T72" fmla="*/ 20 w 237"/>
              <a:gd name="T73" fmla="*/ 296 h 299"/>
              <a:gd name="T74" fmla="*/ 38 w 237"/>
              <a:gd name="T75" fmla="*/ 277 h 299"/>
              <a:gd name="T76" fmla="*/ 200 w 237"/>
              <a:gd name="T77" fmla="*/ 277 h 299"/>
              <a:gd name="T78" fmla="*/ 218 w 237"/>
              <a:gd name="T79" fmla="*/ 296 h 299"/>
              <a:gd name="T80" fmla="*/ 225 w 237"/>
              <a:gd name="T81" fmla="*/ 299 h 299"/>
              <a:gd name="T82" fmla="*/ 233 w 237"/>
              <a:gd name="T83" fmla="*/ 296 h 299"/>
              <a:gd name="T84" fmla="*/ 233 w 237"/>
              <a:gd name="T85" fmla="*/ 280 h 299"/>
              <a:gd name="T86" fmla="*/ 33 w 237"/>
              <a:gd name="T87" fmla="*/ 181 h 299"/>
              <a:gd name="T88" fmla="*/ 33 w 237"/>
              <a:gd name="T89" fmla="*/ 53 h 299"/>
              <a:gd name="T90" fmla="*/ 65 w 237"/>
              <a:gd name="T91" fmla="*/ 21 h 299"/>
              <a:gd name="T92" fmla="*/ 172 w 237"/>
              <a:gd name="T93" fmla="*/ 21 h 299"/>
              <a:gd name="T94" fmla="*/ 204 w 237"/>
              <a:gd name="T95" fmla="*/ 53 h 299"/>
              <a:gd name="T96" fmla="*/ 204 w 237"/>
              <a:gd name="T97" fmla="*/ 181 h 299"/>
              <a:gd name="T98" fmla="*/ 161 w 237"/>
              <a:gd name="T99" fmla="*/ 213 h 299"/>
              <a:gd name="T100" fmla="*/ 65 w 237"/>
              <a:gd name="T101" fmla="*/ 213 h 299"/>
              <a:gd name="T102" fmla="*/ 33 w 237"/>
              <a:gd name="T103" fmla="*/ 181 h 299"/>
              <a:gd name="T104" fmla="*/ 59 w 237"/>
              <a:gd name="T105" fmla="*/ 256 h 299"/>
              <a:gd name="T106" fmla="*/ 80 w 237"/>
              <a:gd name="T107" fmla="*/ 235 h 299"/>
              <a:gd name="T108" fmla="*/ 157 w 237"/>
              <a:gd name="T109" fmla="*/ 235 h 299"/>
              <a:gd name="T110" fmla="*/ 178 w 237"/>
              <a:gd name="T111" fmla="*/ 256 h 299"/>
              <a:gd name="T112" fmla="*/ 59 w 237"/>
              <a:gd name="T113" fmla="*/ 256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7" h="299">
                <a:moveTo>
                  <a:pt x="76" y="117"/>
                </a:moveTo>
                <a:cubicBezTo>
                  <a:pt x="161" y="117"/>
                  <a:pt x="161" y="117"/>
                  <a:pt x="161" y="117"/>
                </a:cubicBezTo>
                <a:cubicBezTo>
                  <a:pt x="173" y="117"/>
                  <a:pt x="183" y="108"/>
                  <a:pt x="183" y="96"/>
                </a:cubicBezTo>
                <a:cubicBezTo>
                  <a:pt x="183" y="64"/>
                  <a:pt x="183" y="64"/>
                  <a:pt x="183" y="64"/>
                </a:cubicBezTo>
                <a:cubicBezTo>
                  <a:pt x="183" y="52"/>
                  <a:pt x="173" y="43"/>
                  <a:pt x="161" y="43"/>
                </a:cubicBezTo>
                <a:cubicBezTo>
                  <a:pt x="76" y="43"/>
                  <a:pt x="76" y="43"/>
                  <a:pt x="76" y="43"/>
                </a:cubicBezTo>
                <a:cubicBezTo>
                  <a:pt x="64" y="43"/>
                  <a:pt x="55" y="52"/>
                  <a:pt x="55" y="64"/>
                </a:cubicBezTo>
                <a:cubicBezTo>
                  <a:pt x="55" y="96"/>
                  <a:pt x="55" y="96"/>
                  <a:pt x="55" y="96"/>
                </a:cubicBezTo>
                <a:cubicBezTo>
                  <a:pt x="55" y="108"/>
                  <a:pt x="64" y="117"/>
                  <a:pt x="76" y="117"/>
                </a:cubicBezTo>
                <a:close/>
                <a:moveTo>
                  <a:pt x="76" y="64"/>
                </a:moveTo>
                <a:cubicBezTo>
                  <a:pt x="161" y="64"/>
                  <a:pt x="161" y="64"/>
                  <a:pt x="161" y="64"/>
                </a:cubicBezTo>
                <a:cubicBezTo>
                  <a:pt x="161" y="96"/>
                  <a:pt x="161" y="96"/>
                  <a:pt x="161" y="96"/>
                </a:cubicBezTo>
                <a:cubicBezTo>
                  <a:pt x="76" y="96"/>
                  <a:pt x="76" y="96"/>
                  <a:pt x="76" y="96"/>
                </a:cubicBezTo>
                <a:lnTo>
                  <a:pt x="76" y="64"/>
                </a:lnTo>
                <a:close/>
                <a:moveTo>
                  <a:pt x="76" y="192"/>
                </a:moveTo>
                <a:cubicBezTo>
                  <a:pt x="64" y="192"/>
                  <a:pt x="55" y="182"/>
                  <a:pt x="55" y="171"/>
                </a:cubicBezTo>
                <a:cubicBezTo>
                  <a:pt x="55" y="159"/>
                  <a:pt x="64" y="149"/>
                  <a:pt x="76" y="149"/>
                </a:cubicBezTo>
                <a:cubicBezTo>
                  <a:pt x="88" y="149"/>
                  <a:pt x="97" y="159"/>
                  <a:pt x="97" y="171"/>
                </a:cubicBezTo>
                <a:cubicBezTo>
                  <a:pt x="97" y="182"/>
                  <a:pt x="88" y="192"/>
                  <a:pt x="76" y="192"/>
                </a:cubicBezTo>
                <a:close/>
                <a:moveTo>
                  <a:pt x="183" y="171"/>
                </a:moveTo>
                <a:cubicBezTo>
                  <a:pt x="183" y="182"/>
                  <a:pt x="173" y="192"/>
                  <a:pt x="161" y="192"/>
                </a:cubicBezTo>
                <a:cubicBezTo>
                  <a:pt x="150" y="192"/>
                  <a:pt x="140" y="182"/>
                  <a:pt x="140" y="171"/>
                </a:cubicBezTo>
                <a:cubicBezTo>
                  <a:pt x="140" y="159"/>
                  <a:pt x="150" y="149"/>
                  <a:pt x="161" y="149"/>
                </a:cubicBezTo>
                <a:cubicBezTo>
                  <a:pt x="173" y="149"/>
                  <a:pt x="183" y="159"/>
                  <a:pt x="183" y="171"/>
                </a:cubicBezTo>
                <a:close/>
                <a:moveTo>
                  <a:pt x="233" y="280"/>
                </a:moveTo>
                <a:cubicBezTo>
                  <a:pt x="183" y="231"/>
                  <a:pt x="183" y="231"/>
                  <a:pt x="183" y="231"/>
                </a:cubicBezTo>
                <a:cubicBezTo>
                  <a:pt x="205" y="223"/>
                  <a:pt x="225" y="204"/>
                  <a:pt x="225" y="181"/>
                </a:cubicBezTo>
                <a:cubicBezTo>
                  <a:pt x="225" y="53"/>
                  <a:pt x="225" y="53"/>
                  <a:pt x="225" y="53"/>
                </a:cubicBezTo>
                <a:cubicBezTo>
                  <a:pt x="225" y="24"/>
                  <a:pt x="201" y="0"/>
                  <a:pt x="172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36" y="0"/>
                  <a:pt x="12" y="24"/>
                  <a:pt x="12" y="53"/>
                </a:cubicBezTo>
                <a:cubicBezTo>
                  <a:pt x="12" y="181"/>
                  <a:pt x="12" y="181"/>
                  <a:pt x="12" y="181"/>
                </a:cubicBezTo>
                <a:cubicBezTo>
                  <a:pt x="12" y="206"/>
                  <a:pt x="29" y="227"/>
                  <a:pt x="52" y="233"/>
                </a:cubicBezTo>
                <a:cubicBezTo>
                  <a:pt x="4" y="280"/>
                  <a:pt x="4" y="280"/>
                  <a:pt x="4" y="280"/>
                </a:cubicBezTo>
                <a:cubicBezTo>
                  <a:pt x="0" y="285"/>
                  <a:pt x="0" y="291"/>
                  <a:pt x="4" y="296"/>
                </a:cubicBezTo>
                <a:cubicBezTo>
                  <a:pt x="7" y="298"/>
                  <a:pt x="9" y="299"/>
                  <a:pt x="12" y="299"/>
                </a:cubicBezTo>
                <a:cubicBezTo>
                  <a:pt x="15" y="299"/>
                  <a:pt x="17" y="298"/>
                  <a:pt x="20" y="296"/>
                </a:cubicBezTo>
                <a:cubicBezTo>
                  <a:pt x="38" y="277"/>
                  <a:pt x="38" y="277"/>
                  <a:pt x="38" y="277"/>
                </a:cubicBezTo>
                <a:cubicBezTo>
                  <a:pt x="200" y="277"/>
                  <a:pt x="200" y="277"/>
                  <a:pt x="200" y="277"/>
                </a:cubicBezTo>
                <a:cubicBezTo>
                  <a:pt x="218" y="296"/>
                  <a:pt x="218" y="296"/>
                  <a:pt x="218" y="296"/>
                </a:cubicBezTo>
                <a:cubicBezTo>
                  <a:pt x="220" y="298"/>
                  <a:pt x="223" y="299"/>
                  <a:pt x="225" y="299"/>
                </a:cubicBezTo>
                <a:cubicBezTo>
                  <a:pt x="228" y="299"/>
                  <a:pt x="231" y="298"/>
                  <a:pt x="233" y="296"/>
                </a:cubicBezTo>
                <a:cubicBezTo>
                  <a:pt x="237" y="291"/>
                  <a:pt x="237" y="285"/>
                  <a:pt x="233" y="280"/>
                </a:cubicBezTo>
                <a:close/>
                <a:moveTo>
                  <a:pt x="33" y="181"/>
                </a:moveTo>
                <a:cubicBezTo>
                  <a:pt x="33" y="53"/>
                  <a:pt x="33" y="53"/>
                  <a:pt x="33" y="53"/>
                </a:cubicBezTo>
                <a:cubicBezTo>
                  <a:pt x="33" y="36"/>
                  <a:pt x="48" y="21"/>
                  <a:pt x="65" y="21"/>
                </a:cubicBezTo>
                <a:cubicBezTo>
                  <a:pt x="172" y="21"/>
                  <a:pt x="172" y="21"/>
                  <a:pt x="172" y="21"/>
                </a:cubicBezTo>
                <a:cubicBezTo>
                  <a:pt x="190" y="21"/>
                  <a:pt x="204" y="36"/>
                  <a:pt x="204" y="53"/>
                </a:cubicBezTo>
                <a:cubicBezTo>
                  <a:pt x="204" y="181"/>
                  <a:pt x="204" y="181"/>
                  <a:pt x="204" y="181"/>
                </a:cubicBezTo>
                <a:cubicBezTo>
                  <a:pt x="204" y="198"/>
                  <a:pt x="180" y="213"/>
                  <a:pt x="161" y="213"/>
                </a:cubicBezTo>
                <a:cubicBezTo>
                  <a:pt x="65" y="213"/>
                  <a:pt x="65" y="213"/>
                  <a:pt x="65" y="213"/>
                </a:cubicBezTo>
                <a:cubicBezTo>
                  <a:pt x="48" y="213"/>
                  <a:pt x="33" y="199"/>
                  <a:pt x="33" y="181"/>
                </a:cubicBezTo>
                <a:close/>
                <a:moveTo>
                  <a:pt x="59" y="256"/>
                </a:moveTo>
                <a:cubicBezTo>
                  <a:pt x="80" y="235"/>
                  <a:pt x="80" y="235"/>
                  <a:pt x="80" y="235"/>
                </a:cubicBezTo>
                <a:cubicBezTo>
                  <a:pt x="157" y="235"/>
                  <a:pt x="157" y="235"/>
                  <a:pt x="157" y="235"/>
                </a:cubicBezTo>
                <a:cubicBezTo>
                  <a:pt x="178" y="256"/>
                  <a:pt x="178" y="256"/>
                  <a:pt x="178" y="256"/>
                </a:cubicBezTo>
                <a:lnTo>
                  <a:pt x="59" y="256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E13A627-51A5-95E0-069D-E4DB6EE6EFB0}"/>
              </a:ext>
            </a:extLst>
          </p:cNvPr>
          <p:cNvCxnSpPr/>
          <p:nvPr/>
        </p:nvCxnSpPr>
        <p:spPr>
          <a:xfrm>
            <a:off x="2768970" y="5197198"/>
            <a:ext cx="180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90" name="Freeform 824">
            <a:extLst>
              <a:ext uri="{FF2B5EF4-FFF2-40B4-BE49-F238E27FC236}">
                <a16:creationId xmlns:a16="http://schemas.microsoft.com/office/drawing/2014/main" id="{3DCC67A4-4E60-D286-184A-192FE006A31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86365" y="5013571"/>
            <a:ext cx="495058" cy="347314"/>
          </a:xfrm>
          <a:custGeom>
            <a:avLst/>
            <a:gdLst>
              <a:gd name="T0" fmla="*/ 256 w 342"/>
              <a:gd name="T1" fmla="*/ 96 h 245"/>
              <a:gd name="T2" fmla="*/ 246 w 342"/>
              <a:gd name="T3" fmla="*/ 32 h 245"/>
              <a:gd name="T4" fmla="*/ 203 w 342"/>
              <a:gd name="T5" fmla="*/ 0 h 245"/>
              <a:gd name="T6" fmla="*/ 32 w 342"/>
              <a:gd name="T7" fmla="*/ 32 h 245"/>
              <a:gd name="T8" fmla="*/ 22 w 342"/>
              <a:gd name="T9" fmla="*/ 74 h 245"/>
              <a:gd name="T10" fmla="*/ 0 w 342"/>
              <a:gd name="T11" fmla="*/ 85 h 245"/>
              <a:gd name="T12" fmla="*/ 22 w 342"/>
              <a:gd name="T13" fmla="*/ 96 h 245"/>
              <a:gd name="T14" fmla="*/ 11 w 342"/>
              <a:gd name="T15" fmla="*/ 117 h 245"/>
              <a:gd name="T16" fmla="*/ 11 w 342"/>
              <a:gd name="T17" fmla="*/ 138 h 245"/>
              <a:gd name="T18" fmla="*/ 22 w 342"/>
              <a:gd name="T19" fmla="*/ 213 h 245"/>
              <a:gd name="T20" fmla="*/ 56 w 342"/>
              <a:gd name="T21" fmla="*/ 224 h 245"/>
              <a:gd name="T22" fmla="*/ 116 w 342"/>
              <a:gd name="T23" fmla="*/ 224 h 245"/>
              <a:gd name="T24" fmla="*/ 267 w 342"/>
              <a:gd name="T25" fmla="*/ 245 h 245"/>
              <a:gd name="T26" fmla="*/ 331 w 342"/>
              <a:gd name="T27" fmla="*/ 224 h 245"/>
              <a:gd name="T28" fmla="*/ 342 w 342"/>
              <a:gd name="T29" fmla="*/ 128 h 245"/>
              <a:gd name="T30" fmla="*/ 203 w 342"/>
              <a:gd name="T31" fmla="*/ 21 h 245"/>
              <a:gd name="T32" fmla="*/ 192 w 342"/>
              <a:gd name="T33" fmla="*/ 32 h 245"/>
              <a:gd name="T34" fmla="*/ 43 w 342"/>
              <a:gd name="T35" fmla="*/ 96 h 245"/>
              <a:gd name="T36" fmla="*/ 64 w 342"/>
              <a:gd name="T37" fmla="*/ 117 h 245"/>
              <a:gd name="T38" fmla="*/ 43 w 342"/>
              <a:gd name="T39" fmla="*/ 96 h 245"/>
              <a:gd name="T40" fmla="*/ 107 w 342"/>
              <a:gd name="T41" fmla="*/ 117 h 245"/>
              <a:gd name="T42" fmla="*/ 86 w 342"/>
              <a:gd name="T43" fmla="*/ 96 h 245"/>
              <a:gd name="T44" fmla="*/ 150 w 342"/>
              <a:gd name="T45" fmla="*/ 96 h 245"/>
              <a:gd name="T46" fmla="*/ 128 w 342"/>
              <a:gd name="T47" fmla="*/ 117 h 245"/>
              <a:gd name="T48" fmla="*/ 150 w 342"/>
              <a:gd name="T49" fmla="*/ 96 h 245"/>
              <a:gd name="T50" fmla="*/ 192 w 342"/>
              <a:gd name="T51" fmla="*/ 117 h 245"/>
              <a:gd name="T52" fmla="*/ 171 w 342"/>
              <a:gd name="T53" fmla="*/ 96 h 245"/>
              <a:gd name="T54" fmla="*/ 43 w 342"/>
              <a:gd name="T55" fmla="*/ 138 h 245"/>
              <a:gd name="T56" fmla="*/ 224 w 342"/>
              <a:gd name="T57" fmla="*/ 128 h 245"/>
              <a:gd name="T58" fmla="*/ 214 w 342"/>
              <a:gd name="T59" fmla="*/ 96 h 245"/>
              <a:gd name="T60" fmla="*/ 214 w 342"/>
              <a:gd name="T61" fmla="*/ 74 h 245"/>
              <a:gd name="T62" fmla="*/ 43 w 342"/>
              <a:gd name="T63" fmla="*/ 53 h 245"/>
              <a:gd name="T64" fmla="*/ 235 w 342"/>
              <a:gd name="T65" fmla="*/ 202 h 245"/>
              <a:gd name="T66" fmla="*/ 86 w 342"/>
              <a:gd name="T67" fmla="*/ 181 h 245"/>
              <a:gd name="T68" fmla="*/ 43 w 342"/>
              <a:gd name="T69" fmla="*/ 202 h 245"/>
              <a:gd name="T70" fmla="*/ 86 w 342"/>
              <a:gd name="T71" fmla="*/ 224 h 245"/>
              <a:gd name="T72" fmla="*/ 86 w 342"/>
              <a:gd name="T73" fmla="*/ 202 h 245"/>
              <a:gd name="T74" fmla="*/ 86 w 342"/>
              <a:gd name="T75" fmla="*/ 224 h 245"/>
              <a:gd name="T76" fmla="*/ 256 w 342"/>
              <a:gd name="T77" fmla="*/ 213 h 245"/>
              <a:gd name="T78" fmla="*/ 278 w 342"/>
              <a:gd name="T79" fmla="*/ 213 h 245"/>
              <a:gd name="T80" fmla="*/ 320 w 342"/>
              <a:gd name="T81" fmla="*/ 202 h 245"/>
              <a:gd name="T82" fmla="*/ 267 w 342"/>
              <a:gd name="T83" fmla="*/ 181 h 245"/>
              <a:gd name="T84" fmla="*/ 256 w 342"/>
              <a:gd name="T85" fmla="*/ 117 h 245"/>
              <a:gd name="T86" fmla="*/ 320 w 342"/>
              <a:gd name="T87" fmla="*/ 128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42" h="245">
                <a:moveTo>
                  <a:pt x="310" y="96"/>
                </a:moveTo>
                <a:cubicBezTo>
                  <a:pt x="256" y="96"/>
                  <a:pt x="256" y="96"/>
                  <a:pt x="256" y="96"/>
                </a:cubicBezTo>
                <a:cubicBezTo>
                  <a:pt x="256" y="42"/>
                  <a:pt x="256" y="42"/>
                  <a:pt x="256" y="42"/>
                </a:cubicBezTo>
                <a:cubicBezTo>
                  <a:pt x="256" y="36"/>
                  <a:pt x="252" y="32"/>
                  <a:pt x="246" y="32"/>
                </a:cubicBezTo>
                <a:cubicBezTo>
                  <a:pt x="235" y="32"/>
                  <a:pt x="235" y="32"/>
                  <a:pt x="235" y="32"/>
                </a:cubicBezTo>
                <a:cubicBezTo>
                  <a:pt x="235" y="14"/>
                  <a:pt x="221" y="0"/>
                  <a:pt x="203" y="0"/>
                </a:cubicBezTo>
                <a:cubicBezTo>
                  <a:pt x="185" y="0"/>
                  <a:pt x="171" y="14"/>
                  <a:pt x="171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26" y="32"/>
                  <a:pt x="22" y="36"/>
                  <a:pt x="22" y="42"/>
                </a:cubicBezTo>
                <a:cubicBezTo>
                  <a:pt x="22" y="74"/>
                  <a:pt x="22" y="74"/>
                  <a:pt x="22" y="74"/>
                </a:cubicBezTo>
                <a:cubicBezTo>
                  <a:pt x="11" y="74"/>
                  <a:pt x="11" y="74"/>
                  <a:pt x="11" y="74"/>
                </a:cubicBezTo>
                <a:cubicBezTo>
                  <a:pt x="5" y="74"/>
                  <a:pt x="0" y="79"/>
                  <a:pt x="0" y="85"/>
                </a:cubicBezTo>
                <a:cubicBezTo>
                  <a:pt x="0" y="91"/>
                  <a:pt x="5" y="96"/>
                  <a:pt x="11" y="96"/>
                </a:cubicBezTo>
                <a:cubicBezTo>
                  <a:pt x="22" y="96"/>
                  <a:pt x="22" y="96"/>
                  <a:pt x="22" y="96"/>
                </a:cubicBezTo>
                <a:cubicBezTo>
                  <a:pt x="22" y="117"/>
                  <a:pt x="22" y="117"/>
                  <a:pt x="22" y="117"/>
                </a:cubicBezTo>
                <a:cubicBezTo>
                  <a:pt x="11" y="117"/>
                  <a:pt x="11" y="117"/>
                  <a:pt x="11" y="117"/>
                </a:cubicBezTo>
                <a:cubicBezTo>
                  <a:pt x="5" y="117"/>
                  <a:pt x="0" y="122"/>
                  <a:pt x="0" y="128"/>
                </a:cubicBezTo>
                <a:cubicBezTo>
                  <a:pt x="0" y="134"/>
                  <a:pt x="5" y="138"/>
                  <a:pt x="11" y="138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22" y="213"/>
                  <a:pt x="22" y="213"/>
                  <a:pt x="22" y="213"/>
                </a:cubicBezTo>
                <a:cubicBezTo>
                  <a:pt x="22" y="219"/>
                  <a:pt x="26" y="224"/>
                  <a:pt x="32" y="224"/>
                </a:cubicBezTo>
                <a:cubicBezTo>
                  <a:pt x="56" y="224"/>
                  <a:pt x="56" y="224"/>
                  <a:pt x="56" y="224"/>
                </a:cubicBezTo>
                <a:cubicBezTo>
                  <a:pt x="60" y="236"/>
                  <a:pt x="72" y="245"/>
                  <a:pt x="86" y="245"/>
                </a:cubicBezTo>
                <a:cubicBezTo>
                  <a:pt x="100" y="245"/>
                  <a:pt x="111" y="236"/>
                  <a:pt x="116" y="224"/>
                </a:cubicBezTo>
                <a:cubicBezTo>
                  <a:pt x="237" y="224"/>
                  <a:pt x="237" y="224"/>
                  <a:pt x="237" y="224"/>
                </a:cubicBezTo>
                <a:cubicBezTo>
                  <a:pt x="241" y="236"/>
                  <a:pt x="253" y="245"/>
                  <a:pt x="267" y="245"/>
                </a:cubicBezTo>
                <a:cubicBezTo>
                  <a:pt x="281" y="245"/>
                  <a:pt x="293" y="236"/>
                  <a:pt x="297" y="224"/>
                </a:cubicBezTo>
                <a:cubicBezTo>
                  <a:pt x="331" y="224"/>
                  <a:pt x="331" y="224"/>
                  <a:pt x="331" y="224"/>
                </a:cubicBezTo>
                <a:cubicBezTo>
                  <a:pt x="337" y="224"/>
                  <a:pt x="342" y="219"/>
                  <a:pt x="342" y="213"/>
                </a:cubicBezTo>
                <a:cubicBezTo>
                  <a:pt x="342" y="128"/>
                  <a:pt x="342" y="128"/>
                  <a:pt x="342" y="128"/>
                </a:cubicBezTo>
                <a:cubicBezTo>
                  <a:pt x="342" y="110"/>
                  <a:pt x="327" y="96"/>
                  <a:pt x="310" y="96"/>
                </a:cubicBezTo>
                <a:close/>
                <a:moveTo>
                  <a:pt x="203" y="21"/>
                </a:moveTo>
                <a:cubicBezTo>
                  <a:pt x="209" y="21"/>
                  <a:pt x="214" y="26"/>
                  <a:pt x="214" y="32"/>
                </a:cubicBezTo>
                <a:cubicBezTo>
                  <a:pt x="192" y="32"/>
                  <a:pt x="192" y="32"/>
                  <a:pt x="192" y="32"/>
                </a:cubicBezTo>
                <a:cubicBezTo>
                  <a:pt x="192" y="26"/>
                  <a:pt x="197" y="21"/>
                  <a:pt x="203" y="21"/>
                </a:cubicBezTo>
                <a:close/>
                <a:moveTo>
                  <a:pt x="43" y="96"/>
                </a:moveTo>
                <a:cubicBezTo>
                  <a:pt x="64" y="96"/>
                  <a:pt x="64" y="96"/>
                  <a:pt x="64" y="96"/>
                </a:cubicBezTo>
                <a:cubicBezTo>
                  <a:pt x="64" y="117"/>
                  <a:pt x="64" y="117"/>
                  <a:pt x="64" y="117"/>
                </a:cubicBezTo>
                <a:cubicBezTo>
                  <a:pt x="43" y="117"/>
                  <a:pt x="43" y="117"/>
                  <a:pt x="43" y="117"/>
                </a:cubicBezTo>
                <a:lnTo>
                  <a:pt x="43" y="96"/>
                </a:lnTo>
                <a:close/>
                <a:moveTo>
                  <a:pt x="107" y="96"/>
                </a:moveTo>
                <a:cubicBezTo>
                  <a:pt x="107" y="117"/>
                  <a:pt x="107" y="117"/>
                  <a:pt x="107" y="117"/>
                </a:cubicBezTo>
                <a:cubicBezTo>
                  <a:pt x="86" y="117"/>
                  <a:pt x="86" y="117"/>
                  <a:pt x="86" y="117"/>
                </a:cubicBezTo>
                <a:cubicBezTo>
                  <a:pt x="86" y="96"/>
                  <a:pt x="86" y="96"/>
                  <a:pt x="86" y="96"/>
                </a:cubicBezTo>
                <a:lnTo>
                  <a:pt x="107" y="96"/>
                </a:lnTo>
                <a:close/>
                <a:moveTo>
                  <a:pt x="150" y="96"/>
                </a:moveTo>
                <a:cubicBezTo>
                  <a:pt x="150" y="117"/>
                  <a:pt x="150" y="117"/>
                  <a:pt x="150" y="117"/>
                </a:cubicBezTo>
                <a:cubicBezTo>
                  <a:pt x="128" y="117"/>
                  <a:pt x="128" y="117"/>
                  <a:pt x="128" y="117"/>
                </a:cubicBezTo>
                <a:cubicBezTo>
                  <a:pt x="128" y="96"/>
                  <a:pt x="128" y="96"/>
                  <a:pt x="128" y="96"/>
                </a:cubicBezTo>
                <a:lnTo>
                  <a:pt x="150" y="96"/>
                </a:lnTo>
                <a:close/>
                <a:moveTo>
                  <a:pt x="192" y="96"/>
                </a:moveTo>
                <a:cubicBezTo>
                  <a:pt x="192" y="117"/>
                  <a:pt x="192" y="117"/>
                  <a:pt x="192" y="117"/>
                </a:cubicBezTo>
                <a:cubicBezTo>
                  <a:pt x="171" y="117"/>
                  <a:pt x="171" y="117"/>
                  <a:pt x="171" y="117"/>
                </a:cubicBezTo>
                <a:cubicBezTo>
                  <a:pt x="171" y="96"/>
                  <a:pt x="171" y="96"/>
                  <a:pt x="171" y="96"/>
                </a:cubicBezTo>
                <a:lnTo>
                  <a:pt x="192" y="96"/>
                </a:lnTo>
                <a:close/>
                <a:moveTo>
                  <a:pt x="43" y="138"/>
                </a:moveTo>
                <a:cubicBezTo>
                  <a:pt x="214" y="138"/>
                  <a:pt x="214" y="138"/>
                  <a:pt x="214" y="138"/>
                </a:cubicBezTo>
                <a:cubicBezTo>
                  <a:pt x="220" y="138"/>
                  <a:pt x="224" y="134"/>
                  <a:pt x="224" y="128"/>
                </a:cubicBezTo>
                <a:cubicBezTo>
                  <a:pt x="224" y="122"/>
                  <a:pt x="219" y="117"/>
                  <a:pt x="214" y="117"/>
                </a:cubicBezTo>
                <a:cubicBezTo>
                  <a:pt x="214" y="96"/>
                  <a:pt x="214" y="96"/>
                  <a:pt x="214" y="96"/>
                </a:cubicBezTo>
                <a:cubicBezTo>
                  <a:pt x="219" y="96"/>
                  <a:pt x="224" y="91"/>
                  <a:pt x="224" y="85"/>
                </a:cubicBezTo>
                <a:cubicBezTo>
                  <a:pt x="224" y="79"/>
                  <a:pt x="220" y="74"/>
                  <a:pt x="214" y="74"/>
                </a:cubicBezTo>
                <a:cubicBezTo>
                  <a:pt x="43" y="74"/>
                  <a:pt x="43" y="74"/>
                  <a:pt x="43" y="74"/>
                </a:cubicBezTo>
                <a:cubicBezTo>
                  <a:pt x="43" y="53"/>
                  <a:pt x="43" y="53"/>
                  <a:pt x="43" y="53"/>
                </a:cubicBezTo>
                <a:cubicBezTo>
                  <a:pt x="235" y="53"/>
                  <a:pt x="235" y="53"/>
                  <a:pt x="235" y="53"/>
                </a:cubicBezTo>
                <a:cubicBezTo>
                  <a:pt x="235" y="202"/>
                  <a:pt x="235" y="202"/>
                  <a:pt x="235" y="202"/>
                </a:cubicBezTo>
                <a:cubicBezTo>
                  <a:pt x="116" y="202"/>
                  <a:pt x="116" y="202"/>
                  <a:pt x="116" y="202"/>
                </a:cubicBezTo>
                <a:cubicBezTo>
                  <a:pt x="111" y="190"/>
                  <a:pt x="100" y="181"/>
                  <a:pt x="86" y="181"/>
                </a:cubicBezTo>
                <a:cubicBezTo>
                  <a:pt x="72" y="181"/>
                  <a:pt x="60" y="190"/>
                  <a:pt x="56" y="202"/>
                </a:cubicBezTo>
                <a:cubicBezTo>
                  <a:pt x="43" y="202"/>
                  <a:pt x="43" y="202"/>
                  <a:pt x="43" y="202"/>
                </a:cubicBezTo>
                <a:lnTo>
                  <a:pt x="43" y="138"/>
                </a:lnTo>
                <a:close/>
                <a:moveTo>
                  <a:pt x="86" y="224"/>
                </a:moveTo>
                <a:cubicBezTo>
                  <a:pt x="80" y="224"/>
                  <a:pt x="75" y="219"/>
                  <a:pt x="75" y="213"/>
                </a:cubicBezTo>
                <a:cubicBezTo>
                  <a:pt x="75" y="207"/>
                  <a:pt x="80" y="202"/>
                  <a:pt x="86" y="202"/>
                </a:cubicBezTo>
                <a:cubicBezTo>
                  <a:pt x="92" y="202"/>
                  <a:pt x="96" y="207"/>
                  <a:pt x="96" y="213"/>
                </a:cubicBezTo>
                <a:cubicBezTo>
                  <a:pt x="96" y="219"/>
                  <a:pt x="92" y="224"/>
                  <a:pt x="86" y="224"/>
                </a:cubicBezTo>
                <a:close/>
                <a:moveTo>
                  <a:pt x="267" y="224"/>
                </a:moveTo>
                <a:cubicBezTo>
                  <a:pt x="261" y="224"/>
                  <a:pt x="256" y="219"/>
                  <a:pt x="256" y="213"/>
                </a:cubicBezTo>
                <a:cubicBezTo>
                  <a:pt x="256" y="207"/>
                  <a:pt x="261" y="202"/>
                  <a:pt x="267" y="202"/>
                </a:cubicBezTo>
                <a:cubicBezTo>
                  <a:pt x="273" y="202"/>
                  <a:pt x="278" y="207"/>
                  <a:pt x="278" y="213"/>
                </a:cubicBezTo>
                <a:cubicBezTo>
                  <a:pt x="278" y="219"/>
                  <a:pt x="273" y="224"/>
                  <a:pt x="267" y="224"/>
                </a:cubicBezTo>
                <a:close/>
                <a:moveTo>
                  <a:pt x="320" y="202"/>
                </a:moveTo>
                <a:cubicBezTo>
                  <a:pt x="297" y="202"/>
                  <a:pt x="297" y="202"/>
                  <a:pt x="297" y="202"/>
                </a:cubicBezTo>
                <a:cubicBezTo>
                  <a:pt x="293" y="190"/>
                  <a:pt x="281" y="181"/>
                  <a:pt x="267" y="181"/>
                </a:cubicBezTo>
                <a:cubicBezTo>
                  <a:pt x="263" y="181"/>
                  <a:pt x="260" y="182"/>
                  <a:pt x="256" y="183"/>
                </a:cubicBezTo>
                <a:cubicBezTo>
                  <a:pt x="256" y="117"/>
                  <a:pt x="256" y="117"/>
                  <a:pt x="256" y="117"/>
                </a:cubicBezTo>
                <a:cubicBezTo>
                  <a:pt x="310" y="117"/>
                  <a:pt x="310" y="117"/>
                  <a:pt x="310" y="117"/>
                </a:cubicBezTo>
                <a:cubicBezTo>
                  <a:pt x="316" y="117"/>
                  <a:pt x="320" y="122"/>
                  <a:pt x="320" y="128"/>
                </a:cubicBezTo>
                <a:lnTo>
                  <a:pt x="320" y="202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91" name="Freeform 539">
            <a:extLst>
              <a:ext uri="{FF2B5EF4-FFF2-40B4-BE49-F238E27FC236}">
                <a16:creationId xmlns:a16="http://schemas.microsoft.com/office/drawing/2014/main" id="{003B67D2-A113-D581-4932-D071EC2715D3}"/>
              </a:ext>
            </a:extLst>
          </p:cNvPr>
          <p:cNvSpPr>
            <a:spLocks noEditPoints="1"/>
          </p:cNvSpPr>
          <p:nvPr/>
        </p:nvSpPr>
        <p:spPr bwMode="auto">
          <a:xfrm>
            <a:off x="4120599" y="4151580"/>
            <a:ext cx="234066" cy="381146"/>
          </a:xfrm>
          <a:custGeom>
            <a:avLst/>
            <a:gdLst>
              <a:gd name="T0" fmla="*/ 107 w 149"/>
              <a:gd name="T1" fmla="*/ 320 h 320"/>
              <a:gd name="T2" fmla="*/ 43 w 149"/>
              <a:gd name="T3" fmla="*/ 320 h 320"/>
              <a:gd name="T4" fmla="*/ 0 w 149"/>
              <a:gd name="T5" fmla="*/ 277 h 320"/>
              <a:gd name="T6" fmla="*/ 0 w 149"/>
              <a:gd name="T7" fmla="*/ 42 h 320"/>
              <a:gd name="T8" fmla="*/ 43 w 149"/>
              <a:gd name="T9" fmla="*/ 0 h 320"/>
              <a:gd name="T10" fmla="*/ 107 w 149"/>
              <a:gd name="T11" fmla="*/ 0 h 320"/>
              <a:gd name="T12" fmla="*/ 149 w 149"/>
              <a:gd name="T13" fmla="*/ 42 h 320"/>
              <a:gd name="T14" fmla="*/ 149 w 149"/>
              <a:gd name="T15" fmla="*/ 277 h 320"/>
              <a:gd name="T16" fmla="*/ 107 w 149"/>
              <a:gd name="T17" fmla="*/ 320 h 320"/>
              <a:gd name="T18" fmla="*/ 43 w 149"/>
              <a:gd name="T19" fmla="*/ 21 h 320"/>
              <a:gd name="T20" fmla="*/ 21 w 149"/>
              <a:gd name="T21" fmla="*/ 42 h 320"/>
              <a:gd name="T22" fmla="*/ 21 w 149"/>
              <a:gd name="T23" fmla="*/ 277 h 320"/>
              <a:gd name="T24" fmla="*/ 43 w 149"/>
              <a:gd name="T25" fmla="*/ 298 h 320"/>
              <a:gd name="T26" fmla="*/ 107 w 149"/>
              <a:gd name="T27" fmla="*/ 298 h 320"/>
              <a:gd name="T28" fmla="*/ 128 w 149"/>
              <a:gd name="T29" fmla="*/ 277 h 320"/>
              <a:gd name="T30" fmla="*/ 128 w 149"/>
              <a:gd name="T31" fmla="*/ 42 h 320"/>
              <a:gd name="T32" fmla="*/ 107 w 149"/>
              <a:gd name="T33" fmla="*/ 21 h 320"/>
              <a:gd name="T34" fmla="*/ 43 w 149"/>
              <a:gd name="T35" fmla="*/ 21 h 320"/>
              <a:gd name="T36" fmla="*/ 75 w 149"/>
              <a:gd name="T37" fmla="*/ 106 h 320"/>
              <a:gd name="T38" fmla="*/ 43 w 149"/>
              <a:gd name="T39" fmla="*/ 74 h 320"/>
              <a:gd name="T40" fmla="*/ 75 w 149"/>
              <a:gd name="T41" fmla="*/ 42 h 320"/>
              <a:gd name="T42" fmla="*/ 107 w 149"/>
              <a:gd name="T43" fmla="*/ 74 h 320"/>
              <a:gd name="T44" fmla="*/ 75 w 149"/>
              <a:gd name="T45" fmla="*/ 106 h 320"/>
              <a:gd name="T46" fmla="*/ 75 w 149"/>
              <a:gd name="T47" fmla="*/ 64 h 320"/>
              <a:gd name="T48" fmla="*/ 64 w 149"/>
              <a:gd name="T49" fmla="*/ 74 h 320"/>
              <a:gd name="T50" fmla="*/ 75 w 149"/>
              <a:gd name="T51" fmla="*/ 85 h 320"/>
              <a:gd name="T52" fmla="*/ 85 w 149"/>
              <a:gd name="T53" fmla="*/ 74 h 320"/>
              <a:gd name="T54" fmla="*/ 75 w 149"/>
              <a:gd name="T55" fmla="*/ 64 h 320"/>
              <a:gd name="T56" fmla="*/ 75 w 149"/>
              <a:gd name="T57" fmla="*/ 192 h 320"/>
              <a:gd name="T58" fmla="*/ 43 w 149"/>
              <a:gd name="T59" fmla="*/ 160 h 320"/>
              <a:gd name="T60" fmla="*/ 75 w 149"/>
              <a:gd name="T61" fmla="*/ 128 h 320"/>
              <a:gd name="T62" fmla="*/ 107 w 149"/>
              <a:gd name="T63" fmla="*/ 160 h 320"/>
              <a:gd name="T64" fmla="*/ 75 w 149"/>
              <a:gd name="T65" fmla="*/ 192 h 320"/>
              <a:gd name="T66" fmla="*/ 75 w 149"/>
              <a:gd name="T67" fmla="*/ 149 h 320"/>
              <a:gd name="T68" fmla="*/ 64 w 149"/>
              <a:gd name="T69" fmla="*/ 160 h 320"/>
              <a:gd name="T70" fmla="*/ 75 w 149"/>
              <a:gd name="T71" fmla="*/ 170 h 320"/>
              <a:gd name="T72" fmla="*/ 85 w 149"/>
              <a:gd name="T73" fmla="*/ 160 h 320"/>
              <a:gd name="T74" fmla="*/ 75 w 149"/>
              <a:gd name="T75" fmla="*/ 149 h 320"/>
              <a:gd name="T76" fmla="*/ 75 w 149"/>
              <a:gd name="T77" fmla="*/ 277 h 320"/>
              <a:gd name="T78" fmla="*/ 43 w 149"/>
              <a:gd name="T79" fmla="*/ 245 h 320"/>
              <a:gd name="T80" fmla="*/ 75 w 149"/>
              <a:gd name="T81" fmla="*/ 213 h 320"/>
              <a:gd name="T82" fmla="*/ 107 w 149"/>
              <a:gd name="T83" fmla="*/ 245 h 320"/>
              <a:gd name="T84" fmla="*/ 75 w 149"/>
              <a:gd name="T85" fmla="*/ 277 h 320"/>
              <a:gd name="T86" fmla="*/ 75 w 149"/>
              <a:gd name="T87" fmla="*/ 234 h 320"/>
              <a:gd name="T88" fmla="*/ 64 w 149"/>
              <a:gd name="T89" fmla="*/ 245 h 320"/>
              <a:gd name="T90" fmla="*/ 75 w 149"/>
              <a:gd name="T91" fmla="*/ 256 h 320"/>
              <a:gd name="T92" fmla="*/ 85 w 149"/>
              <a:gd name="T93" fmla="*/ 245 h 320"/>
              <a:gd name="T94" fmla="*/ 75 w 149"/>
              <a:gd name="T95" fmla="*/ 23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49" h="320">
                <a:moveTo>
                  <a:pt x="107" y="320"/>
                </a:moveTo>
                <a:cubicBezTo>
                  <a:pt x="43" y="320"/>
                  <a:pt x="43" y="320"/>
                  <a:pt x="43" y="320"/>
                </a:cubicBezTo>
                <a:cubicBezTo>
                  <a:pt x="19" y="320"/>
                  <a:pt x="0" y="301"/>
                  <a:pt x="0" y="277"/>
                </a:cubicBezTo>
                <a:cubicBezTo>
                  <a:pt x="0" y="42"/>
                  <a:pt x="0" y="42"/>
                  <a:pt x="0" y="42"/>
                </a:cubicBezTo>
                <a:cubicBezTo>
                  <a:pt x="0" y="19"/>
                  <a:pt x="19" y="0"/>
                  <a:pt x="43" y="0"/>
                </a:cubicBezTo>
                <a:cubicBezTo>
                  <a:pt x="107" y="0"/>
                  <a:pt x="107" y="0"/>
                  <a:pt x="107" y="0"/>
                </a:cubicBezTo>
                <a:cubicBezTo>
                  <a:pt x="130" y="0"/>
                  <a:pt x="149" y="19"/>
                  <a:pt x="149" y="42"/>
                </a:cubicBezTo>
                <a:cubicBezTo>
                  <a:pt x="149" y="277"/>
                  <a:pt x="149" y="277"/>
                  <a:pt x="149" y="277"/>
                </a:cubicBezTo>
                <a:cubicBezTo>
                  <a:pt x="149" y="301"/>
                  <a:pt x="130" y="320"/>
                  <a:pt x="107" y="320"/>
                </a:cubicBezTo>
                <a:close/>
                <a:moveTo>
                  <a:pt x="43" y="21"/>
                </a:moveTo>
                <a:cubicBezTo>
                  <a:pt x="31" y="21"/>
                  <a:pt x="21" y="31"/>
                  <a:pt x="21" y="42"/>
                </a:cubicBezTo>
                <a:cubicBezTo>
                  <a:pt x="21" y="277"/>
                  <a:pt x="21" y="277"/>
                  <a:pt x="21" y="277"/>
                </a:cubicBezTo>
                <a:cubicBezTo>
                  <a:pt x="21" y="289"/>
                  <a:pt x="31" y="298"/>
                  <a:pt x="43" y="298"/>
                </a:cubicBezTo>
                <a:cubicBezTo>
                  <a:pt x="107" y="298"/>
                  <a:pt x="107" y="298"/>
                  <a:pt x="107" y="298"/>
                </a:cubicBezTo>
                <a:cubicBezTo>
                  <a:pt x="118" y="298"/>
                  <a:pt x="128" y="289"/>
                  <a:pt x="128" y="277"/>
                </a:cubicBezTo>
                <a:cubicBezTo>
                  <a:pt x="128" y="42"/>
                  <a:pt x="128" y="42"/>
                  <a:pt x="128" y="42"/>
                </a:cubicBezTo>
                <a:cubicBezTo>
                  <a:pt x="128" y="31"/>
                  <a:pt x="118" y="21"/>
                  <a:pt x="107" y="21"/>
                </a:cubicBezTo>
                <a:lnTo>
                  <a:pt x="43" y="21"/>
                </a:lnTo>
                <a:close/>
                <a:moveTo>
                  <a:pt x="75" y="106"/>
                </a:moveTo>
                <a:cubicBezTo>
                  <a:pt x="57" y="106"/>
                  <a:pt x="43" y="92"/>
                  <a:pt x="43" y="74"/>
                </a:cubicBezTo>
                <a:cubicBezTo>
                  <a:pt x="43" y="57"/>
                  <a:pt x="57" y="42"/>
                  <a:pt x="75" y="42"/>
                </a:cubicBezTo>
                <a:cubicBezTo>
                  <a:pt x="92" y="42"/>
                  <a:pt x="107" y="57"/>
                  <a:pt x="107" y="74"/>
                </a:cubicBezTo>
                <a:cubicBezTo>
                  <a:pt x="107" y="92"/>
                  <a:pt x="92" y="106"/>
                  <a:pt x="75" y="106"/>
                </a:cubicBezTo>
                <a:close/>
                <a:moveTo>
                  <a:pt x="75" y="64"/>
                </a:moveTo>
                <a:cubicBezTo>
                  <a:pt x="69" y="64"/>
                  <a:pt x="64" y="68"/>
                  <a:pt x="64" y="74"/>
                </a:cubicBezTo>
                <a:cubicBezTo>
                  <a:pt x="64" y="80"/>
                  <a:pt x="69" y="85"/>
                  <a:pt x="75" y="85"/>
                </a:cubicBezTo>
                <a:cubicBezTo>
                  <a:pt x="81" y="85"/>
                  <a:pt x="85" y="80"/>
                  <a:pt x="85" y="74"/>
                </a:cubicBezTo>
                <a:cubicBezTo>
                  <a:pt x="85" y="68"/>
                  <a:pt x="81" y="64"/>
                  <a:pt x="75" y="64"/>
                </a:cubicBezTo>
                <a:close/>
                <a:moveTo>
                  <a:pt x="75" y="192"/>
                </a:moveTo>
                <a:cubicBezTo>
                  <a:pt x="57" y="192"/>
                  <a:pt x="43" y="177"/>
                  <a:pt x="43" y="160"/>
                </a:cubicBezTo>
                <a:cubicBezTo>
                  <a:pt x="43" y="142"/>
                  <a:pt x="57" y="128"/>
                  <a:pt x="75" y="128"/>
                </a:cubicBezTo>
                <a:cubicBezTo>
                  <a:pt x="92" y="128"/>
                  <a:pt x="107" y="142"/>
                  <a:pt x="107" y="160"/>
                </a:cubicBezTo>
                <a:cubicBezTo>
                  <a:pt x="107" y="177"/>
                  <a:pt x="92" y="192"/>
                  <a:pt x="75" y="192"/>
                </a:cubicBezTo>
                <a:close/>
                <a:moveTo>
                  <a:pt x="75" y="149"/>
                </a:moveTo>
                <a:cubicBezTo>
                  <a:pt x="69" y="149"/>
                  <a:pt x="64" y="154"/>
                  <a:pt x="64" y="160"/>
                </a:cubicBezTo>
                <a:cubicBezTo>
                  <a:pt x="64" y="166"/>
                  <a:pt x="69" y="170"/>
                  <a:pt x="75" y="170"/>
                </a:cubicBezTo>
                <a:cubicBezTo>
                  <a:pt x="81" y="170"/>
                  <a:pt x="85" y="166"/>
                  <a:pt x="85" y="160"/>
                </a:cubicBezTo>
                <a:cubicBezTo>
                  <a:pt x="85" y="154"/>
                  <a:pt x="81" y="149"/>
                  <a:pt x="75" y="149"/>
                </a:cubicBezTo>
                <a:close/>
                <a:moveTo>
                  <a:pt x="75" y="277"/>
                </a:moveTo>
                <a:cubicBezTo>
                  <a:pt x="57" y="277"/>
                  <a:pt x="43" y="263"/>
                  <a:pt x="43" y="245"/>
                </a:cubicBezTo>
                <a:cubicBezTo>
                  <a:pt x="43" y="227"/>
                  <a:pt x="57" y="213"/>
                  <a:pt x="75" y="213"/>
                </a:cubicBezTo>
                <a:cubicBezTo>
                  <a:pt x="92" y="213"/>
                  <a:pt x="107" y="227"/>
                  <a:pt x="107" y="245"/>
                </a:cubicBezTo>
                <a:cubicBezTo>
                  <a:pt x="107" y="263"/>
                  <a:pt x="92" y="277"/>
                  <a:pt x="75" y="277"/>
                </a:cubicBezTo>
                <a:close/>
                <a:moveTo>
                  <a:pt x="75" y="234"/>
                </a:moveTo>
                <a:cubicBezTo>
                  <a:pt x="69" y="234"/>
                  <a:pt x="64" y="239"/>
                  <a:pt x="64" y="245"/>
                </a:cubicBezTo>
                <a:cubicBezTo>
                  <a:pt x="64" y="251"/>
                  <a:pt x="69" y="256"/>
                  <a:pt x="75" y="256"/>
                </a:cubicBezTo>
                <a:cubicBezTo>
                  <a:pt x="81" y="256"/>
                  <a:pt x="85" y="251"/>
                  <a:pt x="85" y="245"/>
                </a:cubicBezTo>
                <a:cubicBezTo>
                  <a:pt x="85" y="239"/>
                  <a:pt x="81" y="234"/>
                  <a:pt x="75" y="234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1CA07AA8-CF10-A28C-0D62-C8251DA059EA}"/>
              </a:ext>
            </a:extLst>
          </p:cNvPr>
          <p:cNvCxnSpPr/>
          <p:nvPr/>
        </p:nvCxnSpPr>
        <p:spPr>
          <a:xfrm flipV="1">
            <a:off x="3026680" y="4313984"/>
            <a:ext cx="180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93" name="Rectangle 92">
            <a:extLst>
              <a:ext uri="{FF2B5EF4-FFF2-40B4-BE49-F238E27FC236}">
                <a16:creationId xmlns:a16="http://schemas.microsoft.com/office/drawing/2014/main" id="{149299FA-6312-B83D-5B53-61D0DF46F477}"/>
              </a:ext>
            </a:extLst>
          </p:cNvPr>
          <p:cNvSpPr/>
          <p:nvPr/>
        </p:nvSpPr>
        <p:spPr>
          <a:xfrm>
            <a:off x="3819217" y="4498589"/>
            <a:ext cx="867545" cy="3110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lnSpc>
                <a:spcPct val="106000"/>
              </a:lnSpc>
            </a:pPr>
            <a:r>
              <a:rPr lang="cs-CZ" sz="1400" dirty="0">
                <a:solidFill>
                  <a:prstClr val="black"/>
                </a:solidFill>
                <a:cs typeface="Calibri" panose="020F0502020204030204" pitchFamily="34" charset="0"/>
              </a:rPr>
              <a:t>Řadič SSZ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grpSp>
        <p:nvGrpSpPr>
          <p:cNvPr id="94" name="Group 620">
            <a:extLst>
              <a:ext uri="{FF2B5EF4-FFF2-40B4-BE49-F238E27FC236}">
                <a16:creationId xmlns:a16="http://schemas.microsoft.com/office/drawing/2014/main" id="{DDD5E75D-6749-252E-F7D6-982A2101160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57621" y="4160189"/>
            <a:ext cx="421416" cy="304917"/>
            <a:chOff x="3523" y="2448"/>
            <a:chExt cx="212" cy="157"/>
          </a:xfrm>
          <a:solidFill>
            <a:sysClr val="windowText" lastClr="000000"/>
          </a:solidFill>
        </p:grpSpPr>
        <p:sp>
          <p:nvSpPr>
            <p:cNvPr id="95" name="Freeform 622">
              <a:extLst>
                <a:ext uri="{FF2B5EF4-FFF2-40B4-BE49-F238E27FC236}">
                  <a16:creationId xmlns:a16="http://schemas.microsoft.com/office/drawing/2014/main" id="{6EB54E5E-F14E-22F4-B21B-2A3741FC90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3" y="2448"/>
              <a:ext cx="85" cy="157"/>
            </a:xfrm>
            <a:custGeom>
              <a:avLst/>
              <a:gdLst>
                <a:gd name="T0" fmla="*/ 93 w 128"/>
                <a:gd name="T1" fmla="*/ 4 h 236"/>
                <a:gd name="T2" fmla="*/ 77 w 128"/>
                <a:gd name="T3" fmla="*/ 4 h 236"/>
                <a:gd name="T4" fmla="*/ 77 w 128"/>
                <a:gd name="T5" fmla="*/ 20 h 236"/>
                <a:gd name="T6" fmla="*/ 106 w 128"/>
                <a:gd name="T7" fmla="*/ 48 h 236"/>
                <a:gd name="T8" fmla="*/ 106 w 128"/>
                <a:gd name="T9" fmla="*/ 76 h 236"/>
                <a:gd name="T10" fmla="*/ 85 w 128"/>
                <a:gd name="T11" fmla="*/ 76 h 236"/>
                <a:gd name="T12" fmla="*/ 74 w 128"/>
                <a:gd name="T13" fmla="*/ 65 h 236"/>
                <a:gd name="T14" fmla="*/ 64 w 128"/>
                <a:gd name="T15" fmla="*/ 76 h 236"/>
                <a:gd name="T16" fmla="*/ 42 w 128"/>
                <a:gd name="T17" fmla="*/ 76 h 236"/>
                <a:gd name="T18" fmla="*/ 32 w 128"/>
                <a:gd name="T19" fmla="*/ 65 h 236"/>
                <a:gd name="T20" fmla="*/ 21 w 128"/>
                <a:gd name="T21" fmla="*/ 76 h 236"/>
                <a:gd name="T22" fmla="*/ 10 w 128"/>
                <a:gd name="T23" fmla="*/ 76 h 236"/>
                <a:gd name="T24" fmla="*/ 0 w 128"/>
                <a:gd name="T25" fmla="*/ 87 h 236"/>
                <a:gd name="T26" fmla="*/ 10 w 128"/>
                <a:gd name="T27" fmla="*/ 97 h 236"/>
                <a:gd name="T28" fmla="*/ 21 w 128"/>
                <a:gd name="T29" fmla="*/ 97 h 236"/>
                <a:gd name="T30" fmla="*/ 21 w 128"/>
                <a:gd name="T31" fmla="*/ 140 h 236"/>
                <a:gd name="T32" fmla="*/ 10 w 128"/>
                <a:gd name="T33" fmla="*/ 140 h 236"/>
                <a:gd name="T34" fmla="*/ 0 w 128"/>
                <a:gd name="T35" fmla="*/ 151 h 236"/>
                <a:gd name="T36" fmla="*/ 10 w 128"/>
                <a:gd name="T37" fmla="*/ 161 h 236"/>
                <a:gd name="T38" fmla="*/ 21 w 128"/>
                <a:gd name="T39" fmla="*/ 161 h 236"/>
                <a:gd name="T40" fmla="*/ 32 w 128"/>
                <a:gd name="T41" fmla="*/ 172 h 236"/>
                <a:gd name="T42" fmla="*/ 42 w 128"/>
                <a:gd name="T43" fmla="*/ 161 h 236"/>
                <a:gd name="T44" fmla="*/ 64 w 128"/>
                <a:gd name="T45" fmla="*/ 161 h 236"/>
                <a:gd name="T46" fmla="*/ 74 w 128"/>
                <a:gd name="T47" fmla="*/ 172 h 236"/>
                <a:gd name="T48" fmla="*/ 85 w 128"/>
                <a:gd name="T49" fmla="*/ 161 h 236"/>
                <a:gd name="T50" fmla="*/ 106 w 128"/>
                <a:gd name="T51" fmla="*/ 161 h 236"/>
                <a:gd name="T52" fmla="*/ 106 w 128"/>
                <a:gd name="T53" fmla="*/ 189 h 236"/>
                <a:gd name="T54" fmla="*/ 77 w 128"/>
                <a:gd name="T55" fmla="*/ 218 h 236"/>
                <a:gd name="T56" fmla="*/ 77 w 128"/>
                <a:gd name="T57" fmla="*/ 233 h 236"/>
                <a:gd name="T58" fmla="*/ 85 w 128"/>
                <a:gd name="T59" fmla="*/ 236 h 236"/>
                <a:gd name="T60" fmla="*/ 93 w 128"/>
                <a:gd name="T61" fmla="*/ 233 h 236"/>
                <a:gd name="T62" fmla="*/ 125 w 128"/>
                <a:gd name="T63" fmla="*/ 201 h 236"/>
                <a:gd name="T64" fmla="*/ 128 w 128"/>
                <a:gd name="T65" fmla="*/ 193 h 236"/>
                <a:gd name="T66" fmla="*/ 128 w 128"/>
                <a:gd name="T67" fmla="*/ 44 h 236"/>
                <a:gd name="T68" fmla="*/ 125 w 128"/>
                <a:gd name="T69" fmla="*/ 36 h 236"/>
                <a:gd name="T70" fmla="*/ 93 w 128"/>
                <a:gd name="T71" fmla="*/ 4 h 236"/>
                <a:gd name="T72" fmla="*/ 42 w 128"/>
                <a:gd name="T73" fmla="*/ 140 h 236"/>
                <a:gd name="T74" fmla="*/ 42 w 128"/>
                <a:gd name="T75" fmla="*/ 97 h 236"/>
                <a:gd name="T76" fmla="*/ 64 w 128"/>
                <a:gd name="T77" fmla="*/ 97 h 236"/>
                <a:gd name="T78" fmla="*/ 64 w 128"/>
                <a:gd name="T79" fmla="*/ 140 h 236"/>
                <a:gd name="T80" fmla="*/ 42 w 128"/>
                <a:gd name="T81" fmla="*/ 140 h 236"/>
                <a:gd name="T82" fmla="*/ 85 w 128"/>
                <a:gd name="T83" fmla="*/ 140 h 236"/>
                <a:gd name="T84" fmla="*/ 85 w 128"/>
                <a:gd name="T85" fmla="*/ 97 h 236"/>
                <a:gd name="T86" fmla="*/ 106 w 128"/>
                <a:gd name="T87" fmla="*/ 97 h 236"/>
                <a:gd name="T88" fmla="*/ 106 w 128"/>
                <a:gd name="T89" fmla="*/ 140 h 236"/>
                <a:gd name="T90" fmla="*/ 85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93" y="4"/>
                  </a:moveTo>
                  <a:cubicBezTo>
                    <a:pt x="88" y="0"/>
                    <a:pt x="82" y="0"/>
                    <a:pt x="77" y="4"/>
                  </a:cubicBezTo>
                  <a:cubicBezTo>
                    <a:pt x="73" y="9"/>
                    <a:pt x="73" y="15"/>
                    <a:pt x="77" y="20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85" y="76"/>
                    <a:pt x="85" y="76"/>
                    <a:pt x="85" y="76"/>
                  </a:cubicBezTo>
                  <a:cubicBezTo>
                    <a:pt x="85" y="70"/>
                    <a:pt x="80" y="65"/>
                    <a:pt x="74" y="65"/>
                  </a:cubicBezTo>
                  <a:cubicBezTo>
                    <a:pt x="68" y="65"/>
                    <a:pt x="64" y="70"/>
                    <a:pt x="64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0"/>
                    <a:pt x="38" y="65"/>
                    <a:pt x="32" y="65"/>
                  </a:cubicBezTo>
                  <a:cubicBezTo>
                    <a:pt x="26" y="65"/>
                    <a:pt x="21" y="70"/>
                    <a:pt x="21" y="76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4" y="76"/>
                    <a:pt x="0" y="81"/>
                    <a:pt x="0" y="87"/>
                  </a:cubicBezTo>
                  <a:cubicBezTo>
                    <a:pt x="0" y="93"/>
                    <a:pt x="4" y="97"/>
                    <a:pt x="10" y="97"/>
                  </a:cubicBezTo>
                  <a:cubicBezTo>
                    <a:pt x="21" y="97"/>
                    <a:pt x="21" y="97"/>
                    <a:pt x="21" y="97"/>
                  </a:cubicBezTo>
                  <a:cubicBezTo>
                    <a:pt x="21" y="140"/>
                    <a:pt x="21" y="140"/>
                    <a:pt x="21" y="140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4" y="140"/>
                    <a:pt x="0" y="145"/>
                    <a:pt x="0" y="151"/>
                  </a:cubicBezTo>
                  <a:cubicBezTo>
                    <a:pt x="0" y="157"/>
                    <a:pt x="4" y="161"/>
                    <a:pt x="10" y="161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167"/>
                    <a:pt x="26" y="172"/>
                    <a:pt x="32" y="172"/>
                  </a:cubicBezTo>
                  <a:cubicBezTo>
                    <a:pt x="38" y="172"/>
                    <a:pt x="42" y="167"/>
                    <a:pt x="42" y="161"/>
                  </a:cubicBezTo>
                  <a:cubicBezTo>
                    <a:pt x="64" y="161"/>
                    <a:pt x="64" y="161"/>
                    <a:pt x="64" y="161"/>
                  </a:cubicBezTo>
                  <a:cubicBezTo>
                    <a:pt x="64" y="167"/>
                    <a:pt x="68" y="172"/>
                    <a:pt x="74" y="172"/>
                  </a:cubicBezTo>
                  <a:cubicBezTo>
                    <a:pt x="80" y="172"/>
                    <a:pt x="85" y="167"/>
                    <a:pt x="85" y="161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6" y="189"/>
                    <a:pt x="106" y="189"/>
                    <a:pt x="106" y="189"/>
                  </a:cubicBezTo>
                  <a:cubicBezTo>
                    <a:pt x="77" y="218"/>
                    <a:pt x="77" y="218"/>
                    <a:pt x="77" y="218"/>
                  </a:cubicBezTo>
                  <a:cubicBezTo>
                    <a:pt x="73" y="222"/>
                    <a:pt x="73" y="229"/>
                    <a:pt x="77" y="233"/>
                  </a:cubicBezTo>
                  <a:cubicBezTo>
                    <a:pt x="80" y="235"/>
                    <a:pt x="82" y="236"/>
                    <a:pt x="85" y="236"/>
                  </a:cubicBezTo>
                  <a:cubicBezTo>
                    <a:pt x="88" y="236"/>
                    <a:pt x="90" y="235"/>
                    <a:pt x="93" y="233"/>
                  </a:cubicBezTo>
                  <a:cubicBezTo>
                    <a:pt x="125" y="201"/>
                    <a:pt x="125" y="201"/>
                    <a:pt x="125" y="201"/>
                  </a:cubicBezTo>
                  <a:cubicBezTo>
                    <a:pt x="127" y="199"/>
                    <a:pt x="128" y="196"/>
                    <a:pt x="128" y="193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1"/>
                    <a:pt x="127" y="38"/>
                    <a:pt x="125" y="36"/>
                  </a:cubicBezTo>
                  <a:lnTo>
                    <a:pt x="93" y="4"/>
                  </a:lnTo>
                  <a:close/>
                  <a:moveTo>
                    <a:pt x="42" y="140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140"/>
                    <a:pt x="64" y="140"/>
                    <a:pt x="64" y="140"/>
                  </a:cubicBezTo>
                  <a:lnTo>
                    <a:pt x="42" y="140"/>
                  </a:lnTo>
                  <a:close/>
                  <a:moveTo>
                    <a:pt x="85" y="140"/>
                  </a:moveTo>
                  <a:cubicBezTo>
                    <a:pt x="85" y="97"/>
                    <a:pt x="85" y="97"/>
                    <a:pt x="85" y="97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6" y="140"/>
                    <a:pt x="106" y="140"/>
                    <a:pt x="106" y="140"/>
                  </a:cubicBezTo>
                  <a:lnTo>
                    <a:pt x="85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623">
              <a:extLst>
                <a:ext uri="{FF2B5EF4-FFF2-40B4-BE49-F238E27FC236}">
                  <a16:creationId xmlns:a16="http://schemas.microsoft.com/office/drawing/2014/main" id="{3D26EC88-9889-DC62-C4EE-5B89DAEFD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0" y="2448"/>
              <a:ext cx="85" cy="157"/>
            </a:xfrm>
            <a:custGeom>
              <a:avLst/>
              <a:gdLst>
                <a:gd name="T0" fmla="*/ 117 w 128"/>
                <a:gd name="T1" fmla="*/ 140 h 236"/>
                <a:gd name="T2" fmla="*/ 106 w 128"/>
                <a:gd name="T3" fmla="*/ 140 h 236"/>
                <a:gd name="T4" fmla="*/ 106 w 128"/>
                <a:gd name="T5" fmla="*/ 97 h 236"/>
                <a:gd name="T6" fmla="*/ 117 w 128"/>
                <a:gd name="T7" fmla="*/ 97 h 236"/>
                <a:gd name="T8" fmla="*/ 128 w 128"/>
                <a:gd name="T9" fmla="*/ 87 h 236"/>
                <a:gd name="T10" fmla="*/ 117 w 128"/>
                <a:gd name="T11" fmla="*/ 76 h 236"/>
                <a:gd name="T12" fmla="*/ 106 w 128"/>
                <a:gd name="T13" fmla="*/ 76 h 236"/>
                <a:gd name="T14" fmla="*/ 96 w 128"/>
                <a:gd name="T15" fmla="*/ 65 h 236"/>
                <a:gd name="T16" fmla="*/ 85 w 128"/>
                <a:gd name="T17" fmla="*/ 76 h 236"/>
                <a:gd name="T18" fmla="*/ 64 w 128"/>
                <a:gd name="T19" fmla="*/ 76 h 236"/>
                <a:gd name="T20" fmla="*/ 53 w 128"/>
                <a:gd name="T21" fmla="*/ 65 h 236"/>
                <a:gd name="T22" fmla="*/ 42 w 128"/>
                <a:gd name="T23" fmla="*/ 76 h 236"/>
                <a:gd name="T24" fmla="*/ 21 w 128"/>
                <a:gd name="T25" fmla="*/ 76 h 236"/>
                <a:gd name="T26" fmla="*/ 21 w 128"/>
                <a:gd name="T27" fmla="*/ 48 h 236"/>
                <a:gd name="T28" fmla="*/ 50 w 128"/>
                <a:gd name="T29" fmla="*/ 20 h 236"/>
                <a:gd name="T30" fmla="*/ 50 w 128"/>
                <a:gd name="T31" fmla="*/ 4 h 236"/>
                <a:gd name="T32" fmla="*/ 35 w 128"/>
                <a:gd name="T33" fmla="*/ 4 h 236"/>
                <a:gd name="T34" fmla="*/ 3 w 128"/>
                <a:gd name="T35" fmla="*/ 36 h 236"/>
                <a:gd name="T36" fmla="*/ 0 w 128"/>
                <a:gd name="T37" fmla="*/ 44 h 236"/>
                <a:gd name="T38" fmla="*/ 0 w 128"/>
                <a:gd name="T39" fmla="*/ 193 h 236"/>
                <a:gd name="T40" fmla="*/ 3 w 128"/>
                <a:gd name="T41" fmla="*/ 201 h 236"/>
                <a:gd name="T42" fmla="*/ 35 w 128"/>
                <a:gd name="T43" fmla="*/ 233 h 236"/>
                <a:gd name="T44" fmla="*/ 42 w 128"/>
                <a:gd name="T45" fmla="*/ 236 h 236"/>
                <a:gd name="T46" fmla="*/ 50 w 128"/>
                <a:gd name="T47" fmla="*/ 233 h 236"/>
                <a:gd name="T48" fmla="*/ 50 w 128"/>
                <a:gd name="T49" fmla="*/ 218 h 236"/>
                <a:gd name="T50" fmla="*/ 21 w 128"/>
                <a:gd name="T51" fmla="*/ 189 h 236"/>
                <a:gd name="T52" fmla="*/ 21 w 128"/>
                <a:gd name="T53" fmla="*/ 161 h 236"/>
                <a:gd name="T54" fmla="*/ 42 w 128"/>
                <a:gd name="T55" fmla="*/ 161 h 236"/>
                <a:gd name="T56" fmla="*/ 53 w 128"/>
                <a:gd name="T57" fmla="*/ 172 h 236"/>
                <a:gd name="T58" fmla="*/ 64 w 128"/>
                <a:gd name="T59" fmla="*/ 161 h 236"/>
                <a:gd name="T60" fmla="*/ 85 w 128"/>
                <a:gd name="T61" fmla="*/ 161 h 236"/>
                <a:gd name="T62" fmla="*/ 96 w 128"/>
                <a:gd name="T63" fmla="*/ 172 h 236"/>
                <a:gd name="T64" fmla="*/ 106 w 128"/>
                <a:gd name="T65" fmla="*/ 161 h 236"/>
                <a:gd name="T66" fmla="*/ 117 w 128"/>
                <a:gd name="T67" fmla="*/ 161 h 236"/>
                <a:gd name="T68" fmla="*/ 128 w 128"/>
                <a:gd name="T69" fmla="*/ 151 h 236"/>
                <a:gd name="T70" fmla="*/ 117 w 128"/>
                <a:gd name="T71" fmla="*/ 140 h 236"/>
                <a:gd name="T72" fmla="*/ 21 w 128"/>
                <a:gd name="T73" fmla="*/ 140 h 236"/>
                <a:gd name="T74" fmla="*/ 21 w 128"/>
                <a:gd name="T75" fmla="*/ 97 h 236"/>
                <a:gd name="T76" fmla="*/ 42 w 128"/>
                <a:gd name="T77" fmla="*/ 97 h 236"/>
                <a:gd name="T78" fmla="*/ 42 w 128"/>
                <a:gd name="T79" fmla="*/ 140 h 236"/>
                <a:gd name="T80" fmla="*/ 21 w 128"/>
                <a:gd name="T81" fmla="*/ 140 h 236"/>
                <a:gd name="T82" fmla="*/ 64 w 128"/>
                <a:gd name="T83" fmla="*/ 140 h 236"/>
                <a:gd name="T84" fmla="*/ 64 w 128"/>
                <a:gd name="T85" fmla="*/ 97 h 236"/>
                <a:gd name="T86" fmla="*/ 85 w 128"/>
                <a:gd name="T87" fmla="*/ 97 h 236"/>
                <a:gd name="T88" fmla="*/ 85 w 128"/>
                <a:gd name="T89" fmla="*/ 140 h 236"/>
                <a:gd name="T90" fmla="*/ 64 w 128"/>
                <a:gd name="T91" fmla="*/ 14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" h="236">
                  <a:moveTo>
                    <a:pt x="117" y="140"/>
                  </a:moveTo>
                  <a:cubicBezTo>
                    <a:pt x="106" y="140"/>
                    <a:pt x="106" y="140"/>
                    <a:pt x="106" y="140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17" y="97"/>
                    <a:pt x="117" y="97"/>
                    <a:pt x="117" y="97"/>
                  </a:cubicBezTo>
                  <a:cubicBezTo>
                    <a:pt x="123" y="97"/>
                    <a:pt x="128" y="93"/>
                    <a:pt x="128" y="87"/>
                  </a:cubicBezTo>
                  <a:cubicBezTo>
                    <a:pt x="128" y="81"/>
                    <a:pt x="123" y="76"/>
                    <a:pt x="117" y="76"/>
                  </a:cubicBezTo>
                  <a:cubicBezTo>
                    <a:pt x="106" y="76"/>
                    <a:pt x="106" y="76"/>
                    <a:pt x="106" y="76"/>
                  </a:cubicBezTo>
                  <a:cubicBezTo>
                    <a:pt x="106" y="70"/>
                    <a:pt x="102" y="65"/>
                    <a:pt x="96" y="65"/>
                  </a:cubicBezTo>
                  <a:cubicBezTo>
                    <a:pt x="90" y="65"/>
                    <a:pt x="85" y="70"/>
                    <a:pt x="85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0"/>
                    <a:pt x="59" y="65"/>
                    <a:pt x="53" y="65"/>
                  </a:cubicBezTo>
                  <a:cubicBezTo>
                    <a:pt x="47" y="65"/>
                    <a:pt x="42" y="70"/>
                    <a:pt x="42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4" y="15"/>
                    <a:pt x="54" y="9"/>
                    <a:pt x="50" y="4"/>
                  </a:cubicBezTo>
                  <a:cubicBezTo>
                    <a:pt x="46" y="0"/>
                    <a:pt x="39" y="0"/>
                    <a:pt x="35" y="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1" y="38"/>
                    <a:pt x="0" y="41"/>
                    <a:pt x="0" y="44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6"/>
                    <a:pt x="1" y="199"/>
                    <a:pt x="3" y="201"/>
                  </a:cubicBezTo>
                  <a:cubicBezTo>
                    <a:pt x="35" y="233"/>
                    <a:pt x="35" y="233"/>
                    <a:pt x="35" y="233"/>
                  </a:cubicBezTo>
                  <a:cubicBezTo>
                    <a:pt x="37" y="235"/>
                    <a:pt x="40" y="236"/>
                    <a:pt x="42" y="236"/>
                  </a:cubicBezTo>
                  <a:cubicBezTo>
                    <a:pt x="45" y="236"/>
                    <a:pt x="48" y="235"/>
                    <a:pt x="50" y="233"/>
                  </a:cubicBezTo>
                  <a:cubicBezTo>
                    <a:pt x="54" y="229"/>
                    <a:pt x="54" y="222"/>
                    <a:pt x="50" y="218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42" y="161"/>
                    <a:pt x="42" y="161"/>
                    <a:pt x="42" y="161"/>
                  </a:cubicBezTo>
                  <a:cubicBezTo>
                    <a:pt x="42" y="167"/>
                    <a:pt x="47" y="172"/>
                    <a:pt x="53" y="172"/>
                  </a:cubicBezTo>
                  <a:cubicBezTo>
                    <a:pt x="59" y="172"/>
                    <a:pt x="64" y="167"/>
                    <a:pt x="64" y="161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5" y="167"/>
                    <a:pt x="90" y="172"/>
                    <a:pt x="96" y="172"/>
                  </a:cubicBezTo>
                  <a:cubicBezTo>
                    <a:pt x="102" y="172"/>
                    <a:pt x="106" y="167"/>
                    <a:pt x="106" y="161"/>
                  </a:cubicBezTo>
                  <a:cubicBezTo>
                    <a:pt x="117" y="161"/>
                    <a:pt x="117" y="161"/>
                    <a:pt x="117" y="161"/>
                  </a:cubicBezTo>
                  <a:cubicBezTo>
                    <a:pt x="123" y="161"/>
                    <a:pt x="128" y="157"/>
                    <a:pt x="128" y="151"/>
                  </a:cubicBezTo>
                  <a:cubicBezTo>
                    <a:pt x="128" y="145"/>
                    <a:pt x="123" y="140"/>
                    <a:pt x="117" y="140"/>
                  </a:cubicBezTo>
                  <a:close/>
                  <a:moveTo>
                    <a:pt x="21" y="14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140"/>
                    <a:pt x="42" y="140"/>
                    <a:pt x="42" y="140"/>
                  </a:cubicBezTo>
                  <a:lnTo>
                    <a:pt x="21" y="140"/>
                  </a:lnTo>
                  <a:close/>
                  <a:moveTo>
                    <a:pt x="64" y="140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140"/>
                    <a:pt x="85" y="140"/>
                    <a:pt x="85" y="140"/>
                  </a:cubicBezTo>
                  <a:lnTo>
                    <a:pt x="64" y="1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DEF3DBC0-23D9-88CB-757A-9B2F3F69E065}"/>
              </a:ext>
            </a:extLst>
          </p:cNvPr>
          <p:cNvCxnSpPr/>
          <p:nvPr/>
        </p:nvCxnSpPr>
        <p:spPr>
          <a:xfrm flipV="1">
            <a:off x="4415442" y="4349780"/>
            <a:ext cx="294113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98" name="Rectangle 97">
            <a:extLst>
              <a:ext uri="{FF2B5EF4-FFF2-40B4-BE49-F238E27FC236}">
                <a16:creationId xmlns:a16="http://schemas.microsoft.com/office/drawing/2014/main" id="{E05D5214-92CF-55A2-D6DF-C748B7104019}"/>
              </a:ext>
            </a:extLst>
          </p:cNvPr>
          <p:cNvSpPr/>
          <p:nvPr/>
        </p:nvSpPr>
        <p:spPr>
          <a:xfrm>
            <a:off x="2414875" y="4451899"/>
            <a:ext cx="7986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cs-CZ" sz="1400" dirty="0">
                <a:solidFill>
                  <a:prstClr val="black"/>
                </a:solidFill>
                <a:cs typeface="Calibri" panose="020F0502020204030204" pitchFamily="34" charset="0"/>
              </a:rPr>
              <a:t>Přejezd</a:t>
            </a:r>
            <a:endParaRPr lang="en-US" sz="1400" dirty="0">
              <a:solidFill>
                <a:prstClr val="black"/>
              </a:solidFill>
              <a:cs typeface="Calibri" panose="020F0502020204030204" pitchFamily="34" charset="0"/>
            </a:endParaRPr>
          </a:p>
        </p:txBody>
      </p:sp>
      <p:grpSp>
        <p:nvGrpSpPr>
          <p:cNvPr id="99" name="Group 890">
            <a:extLst>
              <a:ext uri="{FF2B5EF4-FFF2-40B4-BE49-F238E27FC236}">
                <a16:creationId xmlns:a16="http://schemas.microsoft.com/office/drawing/2014/main" id="{67DF35F2-CC19-8FB6-BE78-A226BD596F8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590592" y="4898118"/>
            <a:ext cx="138378" cy="304917"/>
            <a:chOff x="1273" y="3168"/>
            <a:chExt cx="94" cy="212"/>
          </a:xfrm>
          <a:solidFill>
            <a:sysClr val="windowText" lastClr="000000"/>
          </a:solidFill>
        </p:grpSpPr>
        <p:sp>
          <p:nvSpPr>
            <p:cNvPr id="100" name="Freeform 891">
              <a:extLst>
                <a:ext uri="{FF2B5EF4-FFF2-40B4-BE49-F238E27FC236}">
                  <a16:creationId xmlns:a16="http://schemas.microsoft.com/office/drawing/2014/main" id="{DE76E685-260D-6AE7-7B7D-7A549AFEF9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2" y="3168"/>
              <a:ext cx="43" cy="42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1 h 64"/>
                <a:gd name="T12" fmla="*/ 21 w 64"/>
                <a:gd name="T13" fmla="*/ 32 h 64"/>
                <a:gd name="T14" fmla="*/ 32 w 64"/>
                <a:gd name="T15" fmla="*/ 42 h 64"/>
                <a:gd name="T16" fmla="*/ 42 w 64"/>
                <a:gd name="T17" fmla="*/ 32 h 64"/>
                <a:gd name="T18" fmla="*/ 32 w 64"/>
                <a:gd name="T19" fmla="*/ 2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21"/>
                  </a:moveTo>
                  <a:cubicBezTo>
                    <a:pt x="26" y="21"/>
                    <a:pt x="21" y="26"/>
                    <a:pt x="21" y="32"/>
                  </a:cubicBezTo>
                  <a:cubicBezTo>
                    <a:pt x="21" y="38"/>
                    <a:pt x="26" y="42"/>
                    <a:pt x="32" y="42"/>
                  </a:cubicBezTo>
                  <a:cubicBezTo>
                    <a:pt x="38" y="42"/>
                    <a:pt x="42" y="38"/>
                    <a:pt x="42" y="32"/>
                  </a:cubicBezTo>
                  <a:cubicBezTo>
                    <a:pt x="42" y="26"/>
                    <a:pt x="38" y="21"/>
                    <a:pt x="3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892">
              <a:extLst>
                <a:ext uri="{FF2B5EF4-FFF2-40B4-BE49-F238E27FC236}">
                  <a16:creationId xmlns:a16="http://schemas.microsoft.com/office/drawing/2014/main" id="{F2013FA2-5C30-C7F6-AA58-AF1302C7B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8" y="3217"/>
              <a:ext cx="78" cy="163"/>
            </a:xfrm>
            <a:custGeom>
              <a:avLst/>
              <a:gdLst>
                <a:gd name="T0" fmla="*/ 107 w 118"/>
                <a:gd name="T1" fmla="*/ 246 h 246"/>
                <a:gd name="T2" fmla="*/ 96 w 118"/>
                <a:gd name="T3" fmla="*/ 237 h 246"/>
                <a:gd name="T4" fmla="*/ 86 w 118"/>
                <a:gd name="T5" fmla="*/ 165 h 246"/>
                <a:gd name="T6" fmla="*/ 45 w 118"/>
                <a:gd name="T7" fmla="*/ 114 h 246"/>
                <a:gd name="T8" fmla="*/ 43 w 118"/>
                <a:gd name="T9" fmla="*/ 107 h 246"/>
                <a:gd name="T10" fmla="*/ 43 w 118"/>
                <a:gd name="T11" fmla="*/ 32 h 246"/>
                <a:gd name="T12" fmla="*/ 22 w 118"/>
                <a:gd name="T13" fmla="*/ 48 h 246"/>
                <a:gd name="T14" fmla="*/ 22 w 118"/>
                <a:gd name="T15" fmla="*/ 118 h 246"/>
                <a:gd name="T16" fmla="*/ 11 w 118"/>
                <a:gd name="T17" fmla="*/ 128 h 246"/>
                <a:gd name="T18" fmla="*/ 0 w 118"/>
                <a:gd name="T19" fmla="*/ 118 h 246"/>
                <a:gd name="T20" fmla="*/ 0 w 118"/>
                <a:gd name="T21" fmla="*/ 43 h 246"/>
                <a:gd name="T22" fmla="*/ 5 w 118"/>
                <a:gd name="T23" fmla="*/ 34 h 246"/>
                <a:gd name="T24" fmla="*/ 47 w 118"/>
                <a:gd name="T25" fmla="*/ 2 h 246"/>
                <a:gd name="T26" fmla="*/ 58 w 118"/>
                <a:gd name="T27" fmla="*/ 1 h 246"/>
                <a:gd name="T28" fmla="*/ 64 w 118"/>
                <a:gd name="T29" fmla="*/ 11 h 246"/>
                <a:gd name="T30" fmla="*/ 64 w 118"/>
                <a:gd name="T31" fmla="*/ 103 h 246"/>
                <a:gd name="T32" fmla="*/ 105 w 118"/>
                <a:gd name="T33" fmla="*/ 154 h 246"/>
                <a:gd name="T34" fmla="*/ 107 w 118"/>
                <a:gd name="T35" fmla="*/ 159 h 246"/>
                <a:gd name="T36" fmla="*/ 118 w 118"/>
                <a:gd name="T37" fmla="*/ 233 h 246"/>
                <a:gd name="T38" fmla="*/ 109 w 118"/>
                <a:gd name="T39" fmla="*/ 246 h 246"/>
                <a:gd name="T40" fmla="*/ 107 w 118"/>
                <a:gd name="T41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8" h="246">
                  <a:moveTo>
                    <a:pt x="107" y="246"/>
                  </a:moveTo>
                  <a:cubicBezTo>
                    <a:pt x="102" y="246"/>
                    <a:pt x="97" y="242"/>
                    <a:pt x="96" y="237"/>
                  </a:cubicBezTo>
                  <a:cubicBezTo>
                    <a:pt x="86" y="165"/>
                    <a:pt x="86" y="165"/>
                    <a:pt x="86" y="165"/>
                  </a:cubicBezTo>
                  <a:cubicBezTo>
                    <a:pt x="45" y="114"/>
                    <a:pt x="45" y="114"/>
                    <a:pt x="45" y="114"/>
                  </a:cubicBezTo>
                  <a:cubicBezTo>
                    <a:pt x="44" y="112"/>
                    <a:pt x="43" y="109"/>
                    <a:pt x="43" y="107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118"/>
                    <a:pt x="22" y="118"/>
                    <a:pt x="22" y="118"/>
                  </a:cubicBezTo>
                  <a:cubicBezTo>
                    <a:pt x="22" y="124"/>
                    <a:pt x="17" y="128"/>
                    <a:pt x="11" y="128"/>
                  </a:cubicBezTo>
                  <a:cubicBezTo>
                    <a:pt x="5" y="128"/>
                    <a:pt x="0" y="124"/>
                    <a:pt x="0" y="11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0"/>
                    <a:pt x="2" y="36"/>
                    <a:pt x="5" y="34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51" y="0"/>
                    <a:pt x="55" y="0"/>
                    <a:pt x="58" y="1"/>
                  </a:cubicBezTo>
                  <a:cubicBezTo>
                    <a:pt x="62" y="3"/>
                    <a:pt x="64" y="7"/>
                    <a:pt x="64" y="11"/>
                  </a:cubicBezTo>
                  <a:cubicBezTo>
                    <a:pt x="64" y="103"/>
                    <a:pt x="64" y="103"/>
                    <a:pt x="64" y="103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6" y="155"/>
                    <a:pt x="107" y="157"/>
                    <a:pt x="107" y="159"/>
                  </a:cubicBezTo>
                  <a:cubicBezTo>
                    <a:pt x="118" y="233"/>
                    <a:pt x="118" y="233"/>
                    <a:pt x="118" y="233"/>
                  </a:cubicBezTo>
                  <a:cubicBezTo>
                    <a:pt x="118" y="239"/>
                    <a:pt x="114" y="245"/>
                    <a:pt x="109" y="246"/>
                  </a:cubicBezTo>
                  <a:cubicBezTo>
                    <a:pt x="108" y="246"/>
                    <a:pt x="107" y="246"/>
                    <a:pt x="107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893">
              <a:extLst>
                <a:ext uri="{FF2B5EF4-FFF2-40B4-BE49-F238E27FC236}">
                  <a16:creationId xmlns:a16="http://schemas.microsoft.com/office/drawing/2014/main" id="{1240F290-5256-1757-9DF4-3B75CB047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3" y="3315"/>
              <a:ext cx="51" cy="65"/>
            </a:xfrm>
            <a:custGeom>
              <a:avLst/>
              <a:gdLst>
                <a:gd name="T0" fmla="*/ 12 w 77"/>
                <a:gd name="T1" fmla="*/ 98 h 98"/>
                <a:gd name="T2" fmla="*/ 5 w 77"/>
                <a:gd name="T3" fmla="*/ 96 h 98"/>
                <a:gd name="T4" fmla="*/ 3 w 77"/>
                <a:gd name="T5" fmla="*/ 81 h 98"/>
                <a:gd name="T6" fmla="*/ 56 w 77"/>
                <a:gd name="T7" fmla="*/ 6 h 98"/>
                <a:gd name="T8" fmla="*/ 71 w 77"/>
                <a:gd name="T9" fmla="*/ 4 h 98"/>
                <a:gd name="T10" fmla="*/ 74 w 77"/>
                <a:gd name="T11" fmla="*/ 19 h 98"/>
                <a:gd name="T12" fmla="*/ 20 w 77"/>
                <a:gd name="T13" fmla="*/ 93 h 98"/>
                <a:gd name="T14" fmla="*/ 12 w 77"/>
                <a:gd name="T1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98">
                  <a:moveTo>
                    <a:pt x="12" y="98"/>
                  </a:moveTo>
                  <a:cubicBezTo>
                    <a:pt x="10" y="98"/>
                    <a:pt x="7" y="97"/>
                    <a:pt x="5" y="96"/>
                  </a:cubicBezTo>
                  <a:cubicBezTo>
                    <a:pt x="1" y="92"/>
                    <a:pt x="0" y="86"/>
                    <a:pt x="3" y="81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60" y="1"/>
                    <a:pt x="66" y="0"/>
                    <a:pt x="71" y="4"/>
                  </a:cubicBezTo>
                  <a:cubicBezTo>
                    <a:pt x="76" y="7"/>
                    <a:pt x="77" y="14"/>
                    <a:pt x="74" y="19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18" y="96"/>
                    <a:pt x="15" y="98"/>
                    <a:pt x="12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894">
              <a:extLst>
                <a:ext uri="{FF2B5EF4-FFF2-40B4-BE49-F238E27FC236}">
                  <a16:creationId xmlns:a16="http://schemas.microsoft.com/office/drawing/2014/main" id="{8B5B3869-08D9-17D9-2CFE-DB7FF573E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4" y="3266"/>
              <a:ext cx="23" cy="22"/>
            </a:xfrm>
            <a:custGeom>
              <a:avLst/>
              <a:gdLst>
                <a:gd name="T0" fmla="*/ 22 w 34"/>
                <a:gd name="T1" fmla="*/ 33 h 33"/>
                <a:gd name="T2" fmla="*/ 14 w 34"/>
                <a:gd name="T3" fmla="*/ 30 h 33"/>
                <a:gd name="T4" fmla="*/ 4 w 34"/>
                <a:gd name="T5" fmla="*/ 19 h 33"/>
                <a:gd name="T6" fmla="*/ 4 w 34"/>
                <a:gd name="T7" fmla="*/ 4 h 33"/>
                <a:gd name="T8" fmla="*/ 19 w 34"/>
                <a:gd name="T9" fmla="*/ 4 h 33"/>
                <a:gd name="T10" fmla="*/ 30 w 34"/>
                <a:gd name="T11" fmla="*/ 15 h 33"/>
                <a:gd name="T12" fmla="*/ 30 w 34"/>
                <a:gd name="T13" fmla="*/ 30 h 33"/>
                <a:gd name="T14" fmla="*/ 22 w 34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2" y="33"/>
                  </a:moveTo>
                  <a:cubicBezTo>
                    <a:pt x="19" y="33"/>
                    <a:pt x="17" y="32"/>
                    <a:pt x="14" y="3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8" y="0"/>
                    <a:pt x="15" y="0"/>
                    <a:pt x="19" y="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4" y="19"/>
                    <a:pt x="34" y="26"/>
                    <a:pt x="30" y="30"/>
                  </a:cubicBezTo>
                  <a:cubicBezTo>
                    <a:pt x="27" y="32"/>
                    <a:pt x="25" y="33"/>
                    <a:pt x="2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04" name="Freeform 503">
            <a:extLst>
              <a:ext uri="{FF2B5EF4-FFF2-40B4-BE49-F238E27FC236}">
                <a16:creationId xmlns:a16="http://schemas.microsoft.com/office/drawing/2014/main" id="{6DEDF31F-24F2-AFA9-07A6-A15C8BB85BBF}"/>
              </a:ext>
            </a:extLst>
          </p:cNvPr>
          <p:cNvSpPr>
            <a:spLocks noEditPoints="1"/>
          </p:cNvSpPr>
          <p:nvPr/>
        </p:nvSpPr>
        <p:spPr bwMode="auto">
          <a:xfrm>
            <a:off x="2498181" y="5306692"/>
            <a:ext cx="312088" cy="228688"/>
          </a:xfrm>
          <a:custGeom>
            <a:avLst/>
            <a:gdLst>
              <a:gd name="T0" fmla="*/ 234 w 320"/>
              <a:gd name="T1" fmla="*/ 89 h 213"/>
              <a:gd name="T2" fmla="*/ 220 w 320"/>
              <a:gd name="T3" fmla="*/ 32 h 213"/>
              <a:gd name="T4" fmla="*/ 245 w 320"/>
              <a:gd name="T5" fmla="*/ 21 h 213"/>
              <a:gd name="T6" fmla="*/ 192 w 320"/>
              <a:gd name="T7" fmla="*/ 11 h 213"/>
              <a:gd name="T8" fmla="*/ 192 w 320"/>
              <a:gd name="T9" fmla="*/ 32 h 213"/>
              <a:gd name="T10" fmla="*/ 193 w 320"/>
              <a:gd name="T11" fmla="*/ 43 h 213"/>
              <a:gd name="T12" fmla="*/ 114 w 320"/>
              <a:gd name="T13" fmla="*/ 21 h 213"/>
              <a:gd name="T14" fmla="*/ 138 w 320"/>
              <a:gd name="T15" fmla="*/ 11 h 213"/>
              <a:gd name="T16" fmla="*/ 106 w 320"/>
              <a:gd name="T17" fmla="*/ 0 h 213"/>
              <a:gd name="T18" fmla="*/ 72 w 320"/>
              <a:gd name="T19" fmla="*/ 86 h 213"/>
              <a:gd name="T20" fmla="*/ 0 w 320"/>
              <a:gd name="T21" fmla="*/ 149 h 213"/>
              <a:gd name="T22" fmla="*/ 128 w 320"/>
              <a:gd name="T23" fmla="*/ 149 h 213"/>
              <a:gd name="T24" fmla="*/ 98 w 320"/>
              <a:gd name="T25" fmla="*/ 75 h 213"/>
              <a:gd name="T26" fmla="*/ 160 w 320"/>
              <a:gd name="T27" fmla="*/ 160 h 213"/>
              <a:gd name="T28" fmla="*/ 193 w 320"/>
              <a:gd name="T29" fmla="*/ 160 h 213"/>
              <a:gd name="T30" fmla="*/ 320 w 320"/>
              <a:gd name="T31" fmla="*/ 149 h 213"/>
              <a:gd name="T32" fmla="*/ 106 w 320"/>
              <a:gd name="T33" fmla="*/ 149 h 213"/>
              <a:gd name="T34" fmla="*/ 21 w 320"/>
              <a:gd name="T35" fmla="*/ 149 h 213"/>
              <a:gd name="T36" fmla="*/ 66 w 320"/>
              <a:gd name="T37" fmla="*/ 107 h 213"/>
              <a:gd name="T38" fmla="*/ 61 w 320"/>
              <a:gd name="T39" fmla="*/ 160 h 213"/>
              <a:gd name="T40" fmla="*/ 74 w 320"/>
              <a:gd name="T41" fmla="*/ 152 h 213"/>
              <a:gd name="T42" fmla="*/ 106 w 320"/>
              <a:gd name="T43" fmla="*/ 149 h 213"/>
              <a:gd name="T44" fmla="*/ 193 w 320"/>
              <a:gd name="T45" fmla="*/ 139 h 213"/>
              <a:gd name="T46" fmla="*/ 202 w 320"/>
              <a:gd name="T47" fmla="*/ 75 h 213"/>
              <a:gd name="T48" fmla="*/ 238 w 320"/>
              <a:gd name="T49" fmla="*/ 139 h 213"/>
              <a:gd name="T50" fmla="*/ 226 w 320"/>
              <a:gd name="T51" fmla="*/ 118 h 213"/>
              <a:gd name="T52" fmla="*/ 157 w 320"/>
              <a:gd name="T53" fmla="*/ 127 h 213"/>
              <a:gd name="T54" fmla="*/ 184 w 320"/>
              <a:gd name="T55" fmla="*/ 64 h 213"/>
              <a:gd name="T56" fmla="*/ 256 w 320"/>
              <a:gd name="T57" fmla="*/ 192 h 213"/>
              <a:gd name="T58" fmla="*/ 256 w 320"/>
              <a:gd name="T59" fmla="*/ 160 h 213"/>
              <a:gd name="T60" fmla="*/ 265 w 320"/>
              <a:gd name="T61" fmla="*/ 144 h 213"/>
              <a:gd name="T62" fmla="*/ 256 w 320"/>
              <a:gd name="T63" fmla="*/ 107 h 213"/>
              <a:gd name="T64" fmla="*/ 256 w 320"/>
              <a:gd name="T65" fmla="*/ 192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20" h="213">
                <a:moveTo>
                  <a:pt x="256" y="85"/>
                </a:moveTo>
                <a:cubicBezTo>
                  <a:pt x="248" y="85"/>
                  <a:pt x="241" y="87"/>
                  <a:pt x="234" y="89"/>
                </a:cubicBezTo>
                <a:cubicBezTo>
                  <a:pt x="213" y="50"/>
                  <a:pt x="213" y="50"/>
                  <a:pt x="213" y="50"/>
                </a:cubicBezTo>
                <a:cubicBezTo>
                  <a:pt x="220" y="32"/>
                  <a:pt x="220" y="32"/>
                  <a:pt x="220" y="32"/>
                </a:cubicBezTo>
                <a:cubicBezTo>
                  <a:pt x="234" y="32"/>
                  <a:pt x="234" y="32"/>
                  <a:pt x="234" y="32"/>
                </a:cubicBezTo>
                <a:cubicBezTo>
                  <a:pt x="240" y="32"/>
                  <a:pt x="245" y="27"/>
                  <a:pt x="245" y="21"/>
                </a:cubicBezTo>
                <a:cubicBezTo>
                  <a:pt x="245" y="15"/>
                  <a:pt x="240" y="11"/>
                  <a:pt x="234" y="11"/>
                </a:cubicBezTo>
                <a:cubicBezTo>
                  <a:pt x="192" y="11"/>
                  <a:pt x="192" y="11"/>
                  <a:pt x="192" y="11"/>
                </a:cubicBezTo>
                <a:cubicBezTo>
                  <a:pt x="186" y="11"/>
                  <a:pt x="181" y="15"/>
                  <a:pt x="181" y="21"/>
                </a:cubicBezTo>
                <a:cubicBezTo>
                  <a:pt x="181" y="27"/>
                  <a:pt x="186" y="32"/>
                  <a:pt x="192" y="32"/>
                </a:cubicBezTo>
                <a:cubicBezTo>
                  <a:pt x="197" y="32"/>
                  <a:pt x="197" y="32"/>
                  <a:pt x="197" y="32"/>
                </a:cubicBezTo>
                <a:cubicBezTo>
                  <a:pt x="193" y="43"/>
                  <a:pt x="193" y="43"/>
                  <a:pt x="193" y="43"/>
                </a:cubicBezTo>
                <a:cubicBezTo>
                  <a:pt x="108" y="43"/>
                  <a:pt x="108" y="43"/>
                  <a:pt x="108" y="43"/>
                </a:cubicBezTo>
                <a:cubicBezTo>
                  <a:pt x="114" y="21"/>
                  <a:pt x="114" y="21"/>
                  <a:pt x="114" y="21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134" y="21"/>
                  <a:pt x="138" y="17"/>
                  <a:pt x="138" y="11"/>
                </a:cubicBezTo>
                <a:cubicBezTo>
                  <a:pt x="138" y="5"/>
                  <a:pt x="134" y="0"/>
                  <a:pt x="128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2" y="0"/>
                  <a:pt x="98" y="3"/>
                  <a:pt x="96" y="8"/>
                </a:cubicBezTo>
                <a:cubicBezTo>
                  <a:pt x="72" y="86"/>
                  <a:pt x="72" y="86"/>
                  <a:pt x="72" y="86"/>
                </a:cubicBezTo>
                <a:cubicBezTo>
                  <a:pt x="69" y="86"/>
                  <a:pt x="67" y="85"/>
                  <a:pt x="64" y="85"/>
                </a:cubicBezTo>
                <a:cubicBezTo>
                  <a:pt x="28" y="85"/>
                  <a:pt x="0" y="114"/>
                  <a:pt x="0" y="149"/>
                </a:cubicBezTo>
                <a:cubicBezTo>
                  <a:pt x="0" y="185"/>
                  <a:pt x="28" y="213"/>
                  <a:pt x="64" y="213"/>
                </a:cubicBezTo>
                <a:cubicBezTo>
                  <a:pt x="99" y="213"/>
                  <a:pt x="128" y="185"/>
                  <a:pt x="128" y="149"/>
                </a:cubicBezTo>
                <a:cubicBezTo>
                  <a:pt x="128" y="124"/>
                  <a:pt x="113" y="103"/>
                  <a:pt x="92" y="92"/>
                </a:cubicBezTo>
                <a:cubicBezTo>
                  <a:pt x="98" y="75"/>
                  <a:pt x="98" y="75"/>
                  <a:pt x="98" y="75"/>
                </a:cubicBezTo>
                <a:cubicBezTo>
                  <a:pt x="151" y="155"/>
                  <a:pt x="151" y="155"/>
                  <a:pt x="151" y="155"/>
                </a:cubicBezTo>
                <a:cubicBezTo>
                  <a:pt x="153" y="158"/>
                  <a:pt x="156" y="160"/>
                  <a:pt x="160" y="160"/>
                </a:cubicBezTo>
                <a:cubicBezTo>
                  <a:pt x="160" y="160"/>
                  <a:pt x="160" y="160"/>
                  <a:pt x="160" y="160"/>
                </a:cubicBezTo>
                <a:cubicBezTo>
                  <a:pt x="193" y="160"/>
                  <a:pt x="193" y="160"/>
                  <a:pt x="193" y="160"/>
                </a:cubicBezTo>
                <a:cubicBezTo>
                  <a:pt x="198" y="190"/>
                  <a:pt x="224" y="213"/>
                  <a:pt x="256" y="213"/>
                </a:cubicBezTo>
                <a:cubicBezTo>
                  <a:pt x="291" y="213"/>
                  <a:pt x="320" y="185"/>
                  <a:pt x="320" y="149"/>
                </a:cubicBezTo>
                <a:cubicBezTo>
                  <a:pt x="320" y="114"/>
                  <a:pt x="291" y="85"/>
                  <a:pt x="256" y="85"/>
                </a:cubicBezTo>
                <a:close/>
                <a:moveTo>
                  <a:pt x="106" y="149"/>
                </a:moveTo>
                <a:cubicBezTo>
                  <a:pt x="106" y="173"/>
                  <a:pt x="87" y="192"/>
                  <a:pt x="64" y="192"/>
                </a:cubicBezTo>
                <a:cubicBezTo>
                  <a:pt x="40" y="192"/>
                  <a:pt x="21" y="173"/>
                  <a:pt x="21" y="149"/>
                </a:cubicBezTo>
                <a:cubicBezTo>
                  <a:pt x="21" y="126"/>
                  <a:pt x="40" y="107"/>
                  <a:pt x="64" y="107"/>
                </a:cubicBezTo>
                <a:cubicBezTo>
                  <a:pt x="64" y="107"/>
                  <a:pt x="65" y="107"/>
                  <a:pt x="66" y="107"/>
                </a:cubicBezTo>
                <a:cubicBezTo>
                  <a:pt x="53" y="146"/>
                  <a:pt x="53" y="146"/>
                  <a:pt x="53" y="146"/>
                </a:cubicBezTo>
                <a:cubicBezTo>
                  <a:pt x="52" y="152"/>
                  <a:pt x="55" y="158"/>
                  <a:pt x="61" y="160"/>
                </a:cubicBezTo>
                <a:cubicBezTo>
                  <a:pt x="62" y="160"/>
                  <a:pt x="63" y="160"/>
                  <a:pt x="64" y="160"/>
                </a:cubicBezTo>
                <a:cubicBezTo>
                  <a:pt x="68" y="160"/>
                  <a:pt x="72" y="157"/>
                  <a:pt x="74" y="152"/>
                </a:cubicBezTo>
                <a:cubicBezTo>
                  <a:pt x="86" y="113"/>
                  <a:pt x="86" y="113"/>
                  <a:pt x="86" y="113"/>
                </a:cubicBezTo>
                <a:cubicBezTo>
                  <a:pt x="98" y="121"/>
                  <a:pt x="106" y="134"/>
                  <a:pt x="106" y="149"/>
                </a:cubicBezTo>
                <a:close/>
                <a:moveTo>
                  <a:pt x="216" y="99"/>
                </a:moveTo>
                <a:cubicBezTo>
                  <a:pt x="204" y="109"/>
                  <a:pt x="195" y="123"/>
                  <a:pt x="193" y="139"/>
                </a:cubicBezTo>
                <a:cubicBezTo>
                  <a:pt x="176" y="139"/>
                  <a:pt x="176" y="139"/>
                  <a:pt x="176" y="139"/>
                </a:cubicBezTo>
                <a:cubicBezTo>
                  <a:pt x="202" y="75"/>
                  <a:pt x="202" y="75"/>
                  <a:pt x="202" y="75"/>
                </a:cubicBezTo>
                <a:lnTo>
                  <a:pt x="216" y="99"/>
                </a:lnTo>
                <a:close/>
                <a:moveTo>
                  <a:pt x="238" y="139"/>
                </a:moveTo>
                <a:cubicBezTo>
                  <a:pt x="215" y="139"/>
                  <a:pt x="215" y="139"/>
                  <a:pt x="215" y="139"/>
                </a:cubicBezTo>
                <a:cubicBezTo>
                  <a:pt x="217" y="131"/>
                  <a:pt x="221" y="124"/>
                  <a:pt x="226" y="118"/>
                </a:cubicBezTo>
                <a:lnTo>
                  <a:pt x="238" y="139"/>
                </a:lnTo>
                <a:close/>
                <a:moveTo>
                  <a:pt x="157" y="127"/>
                </a:moveTo>
                <a:cubicBezTo>
                  <a:pt x="116" y="64"/>
                  <a:pt x="116" y="64"/>
                  <a:pt x="116" y="64"/>
                </a:cubicBezTo>
                <a:cubicBezTo>
                  <a:pt x="184" y="64"/>
                  <a:pt x="184" y="64"/>
                  <a:pt x="184" y="64"/>
                </a:cubicBezTo>
                <a:lnTo>
                  <a:pt x="157" y="127"/>
                </a:lnTo>
                <a:close/>
                <a:moveTo>
                  <a:pt x="256" y="192"/>
                </a:moveTo>
                <a:cubicBezTo>
                  <a:pt x="236" y="192"/>
                  <a:pt x="219" y="178"/>
                  <a:pt x="215" y="160"/>
                </a:cubicBezTo>
                <a:cubicBezTo>
                  <a:pt x="256" y="160"/>
                  <a:pt x="256" y="160"/>
                  <a:pt x="256" y="160"/>
                </a:cubicBezTo>
                <a:cubicBezTo>
                  <a:pt x="259" y="160"/>
                  <a:pt x="263" y="158"/>
                  <a:pt x="265" y="155"/>
                </a:cubicBezTo>
                <a:cubicBezTo>
                  <a:pt x="267" y="151"/>
                  <a:pt x="267" y="147"/>
                  <a:pt x="265" y="144"/>
                </a:cubicBezTo>
                <a:cubicBezTo>
                  <a:pt x="245" y="108"/>
                  <a:pt x="245" y="108"/>
                  <a:pt x="245" y="108"/>
                </a:cubicBezTo>
                <a:cubicBezTo>
                  <a:pt x="248" y="107"/>
                  <a:pt x="252" y="107"/>
                  <a:pt x="256" y="107"/>
                </a:cubicBezTo>
                <a:cubicBezTo>
                  <a:pt x="279" y="107"/>
                  <a:pt x="298" y="126"/>
                  <a:pt x="298" y="149"/>
                </a:cubicBezTo>
                <a:cubicBezTo>
                  <a:pt x="298" y="173"/>
                  <a:pt x="279" y="192"/>
                  <a:pt x="256" y="192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1" u="none" strike="noStrike" kern="0" cap="none" spc="0" normalizeH="0" baseline="0" noProof="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5" name="Freeform 253">
            <a:extLst>
              <a:ext uri="{FF2B5EF4-FFF2-40B4-BE49-F238E27FC236}">
                <a16:creationId xmlns:a16="http://schemas.microsoft.com/office/drawing/2014/main" id="{345C9070-24C8-3AC6-2381-8EFCF8A5004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03217" y="3355231"/>
            <a:ext cx="366590" cy="285862"/>
          </a:xfrm>
          <a:custGeom>
            <a:avLst/>
            <a:gdLst>
              <a:gd name="T0" fmla="*/ 309 w 320"/>
              <a:gd name="T1" fmla="*/ 0 h 256"/>
              <a:gd name="T2" fmla="*/ 10 w 320"/>
              <a:gd name="T3" fmla="*/ 0 h 256"/>
              <a:gd name="T4" fmla="*/ 0 w 320"/>
              <a:gd name="T5" fmla="*/ 11 h 256"/>
              <a:gd name="T6" fmla="*/ 0 w 320"/>
              <a:gd name="T7" fmla="*/ 203 h 256"/>
              <a:gd name="T8" fmla="*/ 10 w 320"/>
              <a:gd name="T9" fmla="*/ 214 h 256"/>
              <a:gd name="T10" fmla="*/ 149 w 320"/>
              <a:gd name="T11" fmla="*/ 214 h 256"/>
              <a:gd name="T12" fmla="*/ 149 w 320"/>
              <a:gd name="T13" fmla="*/ 235 h 256"/>
              <a:gd name="T14" fmla="*/ 106 w 320"/>
              <a:gd name="T15" fmla="*/ 235 h 256"/>
              <a:gd name="T16" fmla="*/ 96 w 320"/>
              <a:gd name="T17" fmla="*/ 246 h 256"/>
              <a:gd name="T18" fmla="*/ 106 w 320"/>
              <a:gd name="T19" fmla="*/ 256 h 256"/>
              <a:gd name="T20" fmla="*/ 213 w 320"/>
              <a:gd name="T21" fmla="*/ 256 h 256"/>
              <a:gd name="T22" fmla="*/ 224 w 320"/>
              <a:gd name="T23" fmla="*/ 246 h 256"/>
              <a:gd name="T24" fmla="*/ 213 w 320"/>
              <a:gd name="T25" fmla="*/ 235 h 256"/>
              <a:gd name="T26" fmla="*/ 170 w 320"/>
              <a:gd name="T27" fmla="*/ 235 h 256"/>
              <a:gd name="T28" fmla="*/ 170 w 320"/>
              <a:gd name="T29" fmla="*/ 214 h 256"/>
              <a:gd name="T30" fmla="*/ 309 w 320"/>
              <a:gd name="T31" fmla="*/ 214 h 256"/>
              <a:gd name="T32" fmla="*/ 320 w 320"/>
              <a:gd name="T33" fmla="*/ 203 h 256"/>
              <a:gd name="T34" fmla="*/ 320 w 320"/>
              <a:gd name="T35" fmla="*/ 11 h 256"/>
              <a:gd name="T36" fmla="*/ 309 w 320"/>
              <a:gd name="T37" fmla="*/ 0 h 256"/>
              <a:gd name="T38" fmla="*/ 298 w 320"/>
              <a:gd name="T39" fmla="*/ 192 h 256"/>
              <a:gd name="T40" fmla="*/ 21 w 320"/>
              <a:gd name="T41" fmla="*/ 192 h 256"/>
              <a:gd name="T42" fmla="*/ 21 w 320"/>
              <a:gd name="T43" fmla="*/ 22 h 256"/>
              <a:gd name="T44" fmla="*/ 298 w 320"/>
              <a:gd name="T45" fmla="*/ 22 h 256"/>
              <a:gd name="T46" fmla="*/ 298 w 320"/>
              <a:gd name="T47" fmla="*/ 192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20" h="256">
                <a:moveTo>
                  <a:pt x="309" y="0"/>
                </a:move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203"/>
                  <a:pt x="0" y="203"/>
                  <a:pt x="0" y="203"/>
                </a:cubicBezTo>
                <a:cubicBezTo>
                  <a:pt x="0" y="209"/>
                  <a:pt x="4" y="214"/>
                  <a:pt x="10" y="214"/>
                </a:cubicBezTo>
                <a:cubicBezTo>
                  <a:pt x="149" y="214"/>
                  <a:pt x="149" y="214"/>
                  <a:pt x="149" y="214"/>
                </a:cubicBezTo>
                <a:cubicBezTo>
                  <a:pt x="149" y="235"/>
                  <a:pt x="149" y="235"/>
                  <a:pt x="149" y="235"/>
                </a:cubicBezTo>
                <a:cubicBezTo>
                  <a:pt x="106" y="235"/>
                  <a:pt x="106" y="235"/>
                  <a:pt x="106" y="235"/>
                </a:cubicBezTo>
                <a:cubicBezTo>
                  <a:pt x="100" y="235"/>
                  <a:pt x="96" y="240"/>
                  <a:pt x="96" y="246"/>
                </a:cubicBezTo>
                <a:cubicBezTo>
                  <a:pt x="96" y="252"/>
                  <a:pt x="100" y="256"/>
                  <a:pt x="106" y="256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9" y="256"/>
                  <a:pt x="224" y="252"/>
                  <a:pt x="224" y="246"/>
                </a:cubicBezTo>
                <a:cubicBezTo>
                  <a:pt x="224" y="240"/>
                  <a:pt x="219" y="235"/>
                  <a:pt x="213" y="235"/>
                </a:cubicBezTo>
                <a:cubicBezTo>
                  <a:pt x="170" y="235"/>
                  <a:pt x="170" y="235"/>
                  <a:pt x="170" y="235"/>
                </a:cubicBezTo>
                <a:cubicBezTo>
                  <a:pt x="170" y="214"/>
                  <a:pt x="170" y="214"/>
                  <a:pt x="170" y="214"/>
                </a:cubicBezTo>
                <a:cubicBezTo>
                  <a:pt x="309" y="214"/>
                  <a:pt x="309" y="214"/>
                  <a:pt x="309" y="214"/>
                </a:cubicBezTo>
                <a:cubicBezTo>
                  <a:pt x="315" y="214"/>
                  <a:pt x="320" y="209"/>
                  <a:pt x="320" y="203"/>
                </a:cubicBezTo>
                <a:cubicBezTo>
                  <a:pt x="320" y="11"/>
                  <a:pt x="320" y="11"/>
                  <a:pt x="320" y="11"/>
                </a:cubicBezTo>
                <a:cubicBezTo>
                  <a:pt x="320" y="5"/>
                  <a:pt x="315" y="0"/>
                  <a:pt x="309" y="0"/>
                </a:cubicBezTo>
                <a:close/>
                <a:moveTo>
                  <a:pt x="298" y="192"/>
                </a:moveTo>
                <a:cubicBezTo>
                  <a:pt x="21" y="192"/>
                  <a:pt x="21" y="192"/>
                  <a:pt x="21" y="192"/>
                </a:cubicBezTo>
                <a:cubicBezTo>
                  <a:pt x="21" y="22"/>
                  <a:pt x="21" y="22"/>
                  <a:pt x="21" y="22"/>
                </a:cubicBezTo>
                <a:cubicBezTo>
                  <a:pt x="298" y="22"/>
                  <a:pt x="298" y="22"/>
                  <a:pt x="298" y="22"/>
                </a:cubicBezTo>
                <a:lnTo>
                  <a:pt x="298" y="192"/>
                </a:ln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06" name="Straight Arrow Connector 105">
            <a:extLst>
              <a:ext uri="{FF2B5EF4-FFF2-40B4-BE49-F238E27FC236}">
                <a16:creationId xmlns:a16="http://schemas.microsoft.com/office/drawing/2014/main" id="{39588DCA-7C82-DEB7-3625-CE30BA5E1737}"/>
              </a:ext>
            </a:extLst>
          </p:cNvPr>
          <p:cNvCxnSpPr/>
          <p:nvPr/>
        </p:nvCxnSpPr>
        <p:spPr>
          <a:xfrm flipV="1">
            <a:off x="3703934" y="3454989"/>
            <a:ext cx="234066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80A0D1A3-C4AC-3C9C-A309-D559E5293C74}"/>
              </a:ext>
            </a:extLst>
          </p:cNvPr>
          <p:cNvSpPr txBox="1"/>
          <p:nvPr/>
        </p:nvSpPr>
        <p:spPr>
          <a:xfrm>
            <a:off x="644985" y="3312547"/>
            <a:ext cx="1692000" cy="523220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</a:t>
            </a:r>
            <a:r>
              <a:rPr lang="cs-CZ" sz="1400" i="1" dirty="0" err="1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Back</a:t>
            </a:r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Office napojené na dopravní a řídící centra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96C5E93-FC2A-9561-2B64-68EEB67DDF4B}"/>
              </a:ext>
            </a:extLst>
          </p:cNvPr>
          <p:cNvSpPr txBox="1"/>
          <p:nvPr/>
        </p:nvSpPr>
        <p:spPr>
          <a:xfrm>
            <a:off x="654862" y="4097162"/>
            <a:ext cx="1692000" cy="523220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stanice na infrastruktuře („RSU“)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94BA406D-F7FE-E514-026D-AA70DE12117C}"/>
              </a:ext>
            </a:extLst>
          </p:cNvPr>
          <p:cNvSpPr txBox="1"/>
          <p:nvPr/>
        </p:nvSpPr>
        <p:spPr>
          <a:xfrm>
            <a:off x="654862" y="4942932"/>
            <a:ext cx="1692000" cy="523220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algn="just" defTabSz="457200"/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-ITS stanice ve vozidlech („OBU“)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0A3A93C3-7AB9-DB95-93F4-E4D2D38ED09F}"/>
              </a:ext>
            </a:extLst>
          </p:cNvPr>
          <p:cNvSpPr txBox="1"/>
          <p:nvPr/>
        </p:nvSpPr>
        <p:spPr>
          <a:xfrm>
            <a:off x="654862" y="5529488"/>
            <a:ext cx="169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457200"/>
            <a:r>
              <a:rPr lang="cs-CZ" sz="1400" i="1" dirty="0">
                <a:solidFill>
                  <a:prstClr val="black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obilní aplikace</a:t>
            </a: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AEDC247E-68AB-94BB-389B-25D230F0CC4C}"/>
              </a:ext>
            </a:extLst>
          </p:cNvPr>
          <p:cNvSpPr/>
          <p:nvPr/>
        </p:nvSpPr>
        <p:spPr>
          <a:xfrm>
            <a:off x="603699" y="1644440"/>
            <a:ext cx="1620000" cy="288000"/>
          </a:xfrm>
          <a:prstGeom prst="roundRect">
            <a:avLst/>
          </a:prstGeom>
          <a:solidFill>
            <a:srgbClr val="063E85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entrální prvky</a:t>
            </a:r>
          </a:p>
        </p:txBody>
      </p: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8186BF53-C0C6-73FC-0BAF-CF990F8CC8F4}"/>
              </a:ext>
            </a:extLst>
          </p:cNvPr>
          <p:cNvSpPr/>
          <p:nvPr/>
        </p:nvSpPr>
        <p:spPr>
          <a:xfrm>
            <a:off x="602374" y="3062848"/>
            <a:ext cx="1620000" cy="288000"/>
          </a:xfrm>
          <a:prstGeom prst="roundRect">
            <a:avLst/>
          </a:prstGeom>
          <a:solidFill>
            <a:srgbClr val="063E85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-ITS systémy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E1FC429-E2BD-4652-5645-18D0639BE088}"/>
              </a:ext>
            </a:extLst>
          </p:cNvPr>
          <p:cNvSpPr/>
          <p:nvPr/>
        </p:nvSpPr>
        <p:spPr>
          <a:xfrm>
            <a:off x="6436197" y="1678511"/>
            <a:ext cx="5421505" cy="1038114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Bezpečnostní vrst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umožňuje zabezpečenou (důvěryhodnou a spolehlivou) komunikaci v rámci C-ITS.</a:t>
            </a:r>
          </a:p>
          <a:p>
            <a:pPr algn="just">
              <a:spcAft>
                <a:spcPts val="600"/>
              </a:spcAft>
            </a:pPr>
            <a:endParaRPr lang="cs-CZ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352D8B86-0D5F-DA62-63D1-DD445466D266}"/>
              </a:ext>
            </a:extLst>
          </p:cNvPr>
          <p:cNvSpPr/>
          <p:nvPr/>
        </p:nvSpPr>
        <p:spPr>
          <a:xfrm>
            <a:off x="6445936" y="2770604"/>
            <a:ext cx="5421505" cy="1038114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Integrační platforma</a:t>
            </a:r>
            <a:endParaRPr lang="cs-CZ" sz="16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zajišťuje vzájemné propojení centrálních C-ITS stanic </a:t>
            </a:r>
            <a:b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(tedy C-ITS </a:t>
            </a:r>
            <a:r>
              <a:rPr lang="cs-CZ" sz="16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Back</a:t>
            </a:r>
            <a: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cs-CZ" sz="16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Offices</a:t>
            </a:r>
            <a:r>
              <a:rPr lang="cs-CZ" sz="16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) a tím výměnu C-ITS zpráv mezi centrálními C-ITS stanicemi. 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BB4F4F8-D9CC-8F1C-D163-A1AFD27E1396}"/>
              </a:ext>
            </a:extLst>
          </p:cNvPr>
          <p:cNvSpPr/>
          <p:nvPr/>
        </p:nvSpPr>
        <p:spPr>
          <a:xfrm>
            <a:off x="612113" y="944724"/>
            <a:ext cx="11127603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Centrální prvky C-ITS jsou tvořeny Bezpečnostní vrstvou a Integrační platformou.</a:t>
            </a:r>
          </a:p>
        </p:txBody>
      </p:sp>
    </p:spTree>
    <p:extLst>
      <p:ext uri="{BB962C8B-B14F-4D97-AF65-F5344CB8AC3E}">
        <p14:creationId xmlns:p14="http://schemas.microsoft.com/office/powerpoint/2010/main" val="3492032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E4FBAD0-C377-F9E0-CF9A-A0ECA22F0D2D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Centrální prvky C-ITS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2BB4F4F8-D9CC-8F1C-D163-A1AFD27E1396}"/>
              </a:ext>
            </a:extLst>
          </p:cNvPr>
          <p:cNvSpPr/>
          <p:nvPr/>
        </p:nvSpPr>
        <p:spPr>
          <a:xfrm>
            <a:off x="782374" y="1001988"/>
            <a:ext cx="11127603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rovozovány Ředitelstvím silnic a dálnic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na základě pověření Ministerstva dopravy ČR.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B55EFAAC-D99E-4443-ED65-C88D86A545EA}"/>
              </a:ext>
            </a:extLst>
          </p:cNvPr>
          <p:cNvSpPr/>
          <p:nvPr/>
        </p:nvSpPr>
        <p:spPr bwMode="gray">
          <a:xfrm>
            <a:off x="602374" y="1001988"/>
            <a:ext cx="360000" cy="36000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10078D3-F170-409F-4B89-E6CCA061737E}"/>
              </a:ext>
            </a:extLst>
          </p:cNvPr>
          <p:cNvSpPr/>
          <p:nvPr/>
        </p:nvSpPr>
        <p:spPr>
          <a:xfrm>
            <a:off x="782374" y="1685329"/>
            <a:ext cx="11127603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rostředí připraveno, centrální prvky C-ITS otevřeny pro napojení subjektů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(měst, dopravních podniků,..) od 1.1.2022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3933D0B-AE15-1336-2C4D-E358D907E5C1}"/>
              </a:ext>
            </a:extLst>
          </p:cNvPr>
          <p:cNvSpPr/>
          <p:nvPr/>
        </p:nvSpPr>
        <p:spPr bwMode="gray">
          <a:xfrm>
            <a:off x="602374" y="1685329"/>
            <a:ext cx="360000" cy="36000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16A25F-61A6-75D7-CB60-6F51367E7751}"/>
              </a:ext>
            </a:extLst>
          </p:cNvPr>
          <p:cNvSpPr/>
          <p:nvPr/>
        </p:nvSpPr>
        <p:spPr>
          <a:xfrm>
            <a:off x="782375" y="2342581"/>
            <a:ext cx="10721368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Definovány jednotné podmínky pro napojení na Centrální prvky C-ITS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. Jedná se o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Organizačně-procesní podmínky (jednotlivé role v systému, práva a povinnosti zapojených subjektů), včetně ošetření přístupu k ochraně osobních údajů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Technické podmínky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5C52C28-F6AD-534A-4951-AE670471A33D}"/>
              </a:ext>
            </a:extLst>
          </p:cNvPr>
          <p:cNvSpPr/>
          <p:nvPr/>
        </p:nvSpPr>
        <p:spPr bwMode="gray">
          <a:xfrm>
            <a:off x="602374" y="2342581"/>
            <a:ext cx="360000" cy="36000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01EBC1-F5C0-6667-921A-210E43E99B17}"/>
              </a:ext>
            </a:extLst>
          </p:cNvPr>
          <p:cNvSpPr/>
          <p:nvPr/>
        </p:nvSpPr>
        <p:spPr>
          <a:xfrm>
            <a:off x="782374" y="3753510"/>
            <a:ext cx="11127603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Informace o Centrálních prvcích C-ITS jsou zveřejňovány na webových stránkách </a:t>
            </a: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www.c-its.cz</a:t>
            </a: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AFDBDDB-420D-0E7C-7A0C-91071729484D}"/>
              </a:ext>
            </a:extLst>
          </p:cNvPr>
          <p:cNvSpPr/>
          <p:nvPr/>
        </p:nvSpPr>
        <p:spPr bwMode="gray">
          <a:xfrm>
            <a:off x="602374" y="3753510"/>
            <a:ext cx="360000" cy="36000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0D1141D-B625-D3D0-5276-4E77F8CC00CA}"/>
              </a:ext>
            </a:extLst>
          </p:cNvPr>
          <p:cNvSpPr/>
          <p:nvPr/>
        </p:nvSpPr>
        <p:spPr>
          <a:xfrm>
            <a:off x="782374" y="4407355"/>
            <a:ext cx="11127603" cy="363407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Existuje projektová a technická podpora:</a:t>
            </a: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Pro bezpečnostní vrstvu: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pki@c-its.cz</a:t>
            </a: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just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Pro integrační platformu: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intp@c-its.cz</a:t>
            </a: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 algn="just">
              <a:spcAft>
                <a:spcPts val="600"/>
              </a:spcAft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600"/>
              </a:spcAft>
            </a:pPr>
            <a:endParaRPr 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66C5A1A-535A-BB77-DEF0-7D79492BAF9F}"/>
              </a:ext>
            </a:extLst>
          </p:cNvPr>
          <p:cNvSpPr/>
          <p:nvPr/>
        </p:nvSpPr>
        <p:spPr bwMode="gray">
          <a:xfrm>
            <a:off x="602374" y="4407355"/>
            <a:ext cx="360000" cy="360000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359551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0E4FBAD0-C377-F9E0-CF9A-A0ECA22F0D2D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Role v rámci Centrálních prvků C-ITS</a:t>
            </a:r>
          </a:p>
        </p:txBody>
      </p:sp>
      <p:sp>
        <p:nvSpPr>
          <p:cNvPr id="3" name="Freeform 761">
            <a:extLst>
              <a:ext uri="{FF2B5EF4-FFF2-40B4-BE49-F238E27FC236}">
                <a16:creationId xmlns:a16="http://schemas.microsoft.com/office/drawing/2014/main" id="{364322B0-7C43-8D09-0929-73D66F5E9DE2}"/>
              </a:ext>
            </a:extLst>
          </p:cNvPr>
          <p:cNvSpPr>
            <a:spLocks noEditPoints="1"/>
          </p:cNvSpPr>
          <p:nvPr/>
        </p:nvSpPr>
        <p:spPr bwMode="auto">
          <a:xfrm>
            <a:off x="984867" y="3199833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84E5059-3139-0C7D-6B4D-60AE05C03690}"/>
              </a:ext>
            </a:extLst>
          </p:cNvPr>
          <p:cNvSpPr/>
          <p:nvPr/>
        </p:nvSpPr>
        <p:spPr>
          <a:xfrm>
            <a:off x="1538227" y="1112219"/>
            <a:ext cx="2160000" cy="494028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Provozovatel Centrálních prvků C-I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303C313-7B50-B0CD-C32A-7B22475FE6E5}"/>
              </a:ext>
            </a:extLst>
          </p:cNvPr>
          <p:cNvSpPr/>
          <p:nvPr/>
        </p:nvSpPr>
        <p:spPr>
          <a:xfrm>
            <a:off x="1538227" y="3176149"/>
            <a:ext cx="2160000" cy="250162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Žadatel</a:t>
            </a:r>
          </a:p>
        </p:txBody>
      </p:sp>
      <p:sp>
        <p:nvSpPr>
          <p:cNvPr id="18" name="Freeform 818">
            <a:extLst>
              <a:ext uri="{FF2B5EF4-FFF2-40B4-BE49-F238E27FC236}">
                <a16:creationId xmlns:a16="http://schemas.microsoft.com/office/drawing/2014/main" id="{F840E8F2-B98F-D7A0-AE74-94C05118BB39}"/>
              </a:ext>
            </a:extLst>
          </p:cNvPr>
          <p:cNvSpPr>
            <a:spLocks noEditPoints="1"/>
          </p:cNvSpPr>
          <p:nvPr/>
        </p:nvSpPr>
        <p:spPr bwMode="auto">
          <a:xfrm>
            <a:off x="964117" y="1199543"/>
            <a:ext cx="252000" cy="288000"/>
          </a:xfrm>
          <a:custGeom>
            <a:avLst/>
            <a:gdLst>
              <a:gd name="T0" fmla="*/ 86 w 299"/>
              <a:gd name="T1" fmla="*/ 64 h 298"/>
              <a:gd name="T2" fmla="*/ 118 w 299"/>
              <a:gd name="T3" fmla="*/ 32 h 298"/>
              <a:gd name="T4" fmla="*/ 86 w 299"/>
              <a:gd name="T5" fmla="*/ 0 h 298"/>
              <a:gd name="T6" fmla="*/ 54 w 299"/>
              <a:gd name="T7" fmla="*/ 32 h 298"/>
              <a:gd name="T8" fmla="*/ 86 w 299"/>
              <a:gd name="T9" fmla="*/ 64 h 298"/>
              <a:gd name="T10" fmla="*/ 86 w 299"/>
              <a:gd name="T11" fmla="*/ 21 h 298"/>
              <a:gd name="T12" fmla="*/ 96 w 299"/>
              <a:gd name="T13" fmla="*/ 32 h 298"/>
              <a:gd name="T14" fmla="*/ 86 w 299"/>
              <a:gd name="T15" fmla="*/ 42 h 298"/>
              <a:gd name="T16" fmla="*/ 75 w 299"/>
              <a:gd name="T17" fmla="*/ 32 h 298"/>
              <a:gd name="T18" fmla="*/ 86 w 299"/>
              <a:gd name="T19" fmla="*/ 21 h 298"/>
              <a:gd name="T20" fmla="*/ 288 w 299"/>
              <a:gd name="T21" fmla="*/ 149 h 298"/>
              <a:gd name="T22" fmla="*/ 267 w 299"/>
              <a:gd name="T23" fmla="*/ 149 h 298"/>
              <a:gd name="T24" fmla="*/ 267 w 299"/>
              <a:gd name="T25" fmla="*/ 96 h 298"/>
              <a:gd name="T26" fmla="*/ 256 w 299"/>
              <a:gd name="T27" fmla="*/ 85 h 298"/>
              <a:gd name="T28" fmla="*/ 171 w 299"/>
              <a:gd name="T29" fmla="*/ 85 h 298"/>
              <a:gd name="T30" fmla="*/ 160 w 299"/>
              <a:gd name="T31" fmla="*/ 96 h 298"/>
              <a:gd name="T32" fmla="*/ 160 w 299"/>
              <a:gd name="T33" fmla="*/ 149 h 298"/>
              <a:gd name="T34" fmla="*/ 139 w 299"/>
              <a:gd name="T35" fmla="*/ 149 h 298"/>
              <a:gd name="T36" fmla="*/ 139 w 299"/>
              <a:gd name="T37" fmla="*/ 96 h 298"/>
              <a:gd name="T38" fmla="*/ 128 w 299"/>
              <a:gd name="T39" fmla="*/ 85 h 298"/>
              <a:gd name="T40" fmla="*/ 43 w 299"/>
              <a:gd name="T41" fmla="*/ 85 h 298"/>
              <a:gd name="T42" fmla="*/ 32 w 299"/>
              <a:gd name="T43" fmla="*/ 96 h 298"/>
              <a:gd name="T44" fmla="*/ 32 w 299"/>
              <a:gd name="T45" fmla="*/ 149 h 298"/>
              <a:gd name="T46" fmla="*/ 11 w 299"/>
              <a:gd name="T47" fmla="*/ 149 h 298"/>
              <a:gd name="T48" fmla="*/ 0 w 299"/>
              <a:gd name="T49" fmla="*/ 160 h 298"/>
              <a:gd name="T50" fmla="*/ 11 w 299"/>
              <a:gd name="T51" fmla="*/ 170 h 298"/>
              <a:gd name="T52" fmla="*/ 11 w 299"/>
              <a:gd name="T53" fmla="*/ 288 h 298"/>
              <a:gd name="T54" fmla="*/ 22 w 299"/>
              <a:gd name="T55" fmla="*/ 298 h 298"/>
              <a:gd name="T56" fmla="*/ 278 w 299"/>
              <a:gd name="T57" fmla="*/ 298 h 298"/>
              <a:gd name="T58" fmla="*/ 288 w 299"/>
              <a:gd name="T59" fmla="*/ 288 h 298"/>
              <a:gd name="T60" fmla="*/ 288 w 299"/>
              <a:gd name="T61" fmla="*/ 170 h 298"/>
              <a:gd name="T62" fmla="*/ 299 w 299"/>
              <a:gd name="T63" fmla="*/ 160 h 298"/>
              <a:gd name="T64" fmla="*/ 288 w 299"/>
              <a:gd name="T65" fmla="*/ 149 h 298"/>
              <a:gd name="T66" fmla="*/ 182 w 299"/>
              <a:gd name="T67" fmla="*/ 106 h 298"/>
              <a:gd name="T68" fmla="*/ 246 w 299"/>
              <a:gd name="T69" fmla="*/ 106 h 298"/>
              <a:gd name="T70" fmla="*/ 246 w 299"/>
              <a:gd name="T71" fmla="*/ 149 h 298"/>
              <a:gd name="T72" fmla="*/ 182 w 299"/>
              <a:gd name="T73" fmla="*/ 149 h 298"/>
              <a:gd name="T74" fmla="*/ 182 w 299"/>
              <a:gd name="T75" fmla="*/ 106 h 298"/>
              <a:gd name="T76" fmla="*/ 54 w 299"/>
              <a:gd name="T77" fmla="*/ 106 h 298"/>
              <a:gd name="T78" fmla="*/ 118 w 299"/>
              <a:gd name="T79" fmla="*/ 106 h 298"/>
              <a:gd name="T80" fmla="*/ 118 w 299"/>
              <a:gd name="T81" fmla="*/ 149 h 298"/>
              <a:gd name="T82" fmla="*/ 54 w 299"/>
              <a:gd name="T83" fmla="*/ 149 h 298"/>
              <a:gd name="T84" fmla="*/ 54 w 299"/>
              <a:gd name="T85" fmla="*/ 106 h 298"/>
              <a:gd name="T86" fmla="*/ 267 w 299"/>
              <a:gd name="T87" fmla="*/ 277 h 298"/>
              <a:gd name="T88" fmla="*/ 32 w 299"/>
              <a:gd name="T89" fmla="*/ 277 h 298"/>
              <a:gd name="T90" fmla="*/ 32 w 299"/>
              <a:gd name="T91" fmla="*/ 170 h 298"/>
              <a:gd name="T92" fmla="*/ 267 w 299"/>
              <a:gd name="T93" fmla="*/ 170 h 298"/>
              <a:gd name="T94" fmla="*/ 267 w 299"/>
              <a:gd name="T95" fmla="*/ 277 h 298"/>
              <a:gd name="T96" fmla="*/ 214 w 299"/>
              <a:gd name="T97" fmla="*/ 64 h 298"/>
              <a:gd name="T98" fmla="*/ 246 w 299"/>
              <a:gd name="T99" fmla="*/ 32 h 298"/>
              <a:gd name="T100" fmla="*/ 214 w 299"/>
              <a:gd name="T101" fmla="*/ 0 h 298"/>
              <a:gd name="T102" fmla="*/ 182 w 299"/>
              <a:gd name="T103" fmla="*/ 32 h 298"/>
              <a:gd name="T104" fmla="*/ 214 w 299"/>
              <a:gd name="T105" fmla="*/ 64 h 298"/>
              <a:gd name="T106" fmla="*/ 214 w 299"/>
              <a:gd name="T107" fmla="*/ 21 h 298"/>
              <a:gd name="T108" fmla="*/ 224 w 299"/>
              <a:gd name="T109" fmla="*/ 32 h 298"/>
              <a:gd name="T110" fmla="*/ 214 w 299"/>
              <a:gd name="T111" fmla="*/ 42 h 298"/>
              <a:gd name="T112" fmla="*/ 203 w 299"/>
              <a:gd name="T113" fmla="*/ 32 h 298"/>
              <a:gd name="T114" fmla="*/ 214 w 299"/>
              <a:gd name="T115" fmla="*/ 2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9" h="298">
                <a:moveTo>
                  <a:pt x="86" y="64"/>
                </a:moveTo>
                <a:cubicBezTo>
                  <a:pt x="103" y="64"/>
                  <a:pt x="118" y="49"/>
                  <a:pt x="118" y="32"/>
                </a:cubicBezTo>
                <a:cubicBezTo>
                  <a:pt x="118" y="14"/>
                  <a:pt x="103" y="0"/>
                  <a:pt x="86" y="0"/>
                </a:cubicBezTo>
                <a:cubicBezTo>
                  <a:pt x="68" y="0"/>
                  <a:pt x="54" y="14"/>
                  <a:pt x="54" y="32"/>
                </a:cubicBezTo>
                <a:cubicBezTo>
                  <a:pt x="54" y="49"/>
                  <a:pt x="68" y="64"/>
                  <a:pt x="86" y="64"/>
                </a:cubicBezTo>
                <a:close/>
                <a:moveTo>
                  <a:pt x="86" y="21"/>
                </a:moveTo>
                <a:cubicBezTo>
                  <a:pt x="92" y="21"/>
                  <a:pt x="96" y="26"/>
                  <a:pt x="96" y="32"/>
                </a:cubicBezTo>
                <a:cubicBezTo>
                  <a:pt x="96" y="38"/>
                  <a:pt x="92" y="42"/>
                  <a:pt x="86" y="42"/>
                </a:cubicBezTo>
                <a:cubicBezTo>
                  <a:pt x="80" y="42"/>
                  <a:pt x="75" y="38"/>
                  <a:pt x="75" y="32"/>
                </a:cubicBezTo>
                <a:cubicBezTo>
                  <a:pt x="75" y="26"/>
                  <a:pt x="80" y="21"/>
                  <a:pt x="86" y="21"/>
                </a:cubicBezTo>
                <a:close/>
                <a:moveTo>
                  <a:pt x="288" y="149"/>
                </a:moveTo>
                <a:cubicBezTo>
                  <a:pt x="267" y="149"/>
                  <a:pt x="267" y="149"/>
                  <a:pt x="267" y="149"/>
                </a:cubicBezTo>
                <a:cubicBezTo>
                  <a:pt x="267" y="96"/>
                  <a:pt x="267" y="96"/>
                  <a:pt x="267" y="96"/>
                </a:cubicBezTo>
                <a:cubicBezTo>
                  <a:pt x="267" y="90"/>
                  <a:pt x="262" y="85"/>
                  <a:pt x="256" y="85"/>
                </a:cubicBezTo>
                <a:cubicBezTo>
                  <a:pt x="171" y="85"/>
                  <a:pt x="171" y="85"/>
                  <a:pt x="171" y="85"/>
                </a:cubicBezTo>
                <a:cubicBezTo>
                  <a:pt x="165" y="85"/>
                  <a:pt x="160" y="90"/>
                  <a:pt x="160" y="96"/>
                </a:cubicBezTo>
                <a:cubicBezTo>
                  <a:pt x="160" y="149"/>
                  <a:pt x="160" y="149"/>
                  <a:pt x="160" y="149"/>
                </a:cubicBezTo>
                <a:cubicBezTo>
                  <a:pt x="139" y="149"/>
                  <a:pt x="139" y="149"/>
                  <a:pt x="139" y="149"/>
                </a:cubicBezTo>
                <a:cubicBezTo>
                  <a:pt x="139" y="96"/>
                  <a:pt x="139" y="96"/>
                  <a:pt x="139" y="96"/>
                </a:cubicBezTo>
                <a:cubicBezTo>
                  <a:pt x="139" y="90"/>
                  <a:pt x="134" y="85"/>
                  <a:pt x="128" y="85"/>
                </a:cubicBezTo>
                <a:cubicBezTo>
                  <a:pt x="43" y="85"/>
                  <a:pt x="43" y="85"/>
                  <a:pt x="43" y="85"/>
                </a:cubicBezTo>
                <a:cubicBezTo>
                  <a:pt x="37" y="85"/>
                  <a:pt x="32" y="90"/>
                  <a:pt x="32" y="96"/>
                </a:cubicBezTo>
                <a:cubicBezTo>
                  <a:pt x="32" y="149"/>
                  <a:pt x="32" y="149"/>
                  <a:pt x="32" y="149"/>
                </a:cubicBezTo>
                <a:cubicBezTo>
                  <a:pt x="11" y="149"/>
                  <a:pt x="11" y="149"/>
                  <a:pt x="11" y="149"/>
                </a:cubicBezTo>
                <a:cubicBezTo>
                  <a:pt x="5" y="149"/>
                  <a:pt x="0" y="154"/>
                  <a:pt x="0" y="160"/>
                </a:cubicBezTo>
                <a:cubicBezTo>
                  <a:pt x="0" y="166"/>
                  <a:pt x="6" y="170"/>
                  <a:pt x="11" y="170"/>
                </a:cubicBezTo>
                <a:cubicBezTo>
                  <a:pt x="11" y="288"/>
                  <a:pt x="11" y="288"/>
                  <a:pt x="11" y="288"/>
                </a:cubicBezTo>
                <a:cubicBezTo>
                  <a:pt x="11" y="294"/>
                  <a:pt x="16" y="298"/>
                  <a:pt x="22" y="298"/>
                </a:cubicBezTo>
                <a:cubicBezTo>
                  <a:pt x="278" y="298"/>
                  <a:pt x="278" y="298"/>
                  <a:pt x="278" y="298"/>
                </a:cubicBezTo>
                <a:cubicBezTo>
                  <a:pt x="284" y="298"/>
                  <a:pt x="288" y="294"/>
                  <a:pt x="288" y="288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94" y="170"/>
                  <a:pt x="299" y="166"/>
                  <a:pt x="299" y="160"/>
                </a:cubicBezTo>
                <a:cubicBezTo>
                  <a:pt x="299" y="154"/>
                  <a:pt x="294" y="149"/>
                  <a:pt x="288" y="149"/>
                </a:cubicBezTo>
                <a:close/>
                <a:moveTo>
                  <a:pt x="182" y="106"/>
                </a:moveTo>
                <a:cubicBezTo>
                  <a:pt x="246" y="106"/>
                  <a:pt x="246" y="106"/>
                  <a:pt x="246" y="106"/>
                </a:cubicBezTo>
                <a:cubicBezTo>
                  <a:pt x="246" y="149"/>
                  <a:pt x="246" y="149"/>
                  <a:pt x="246" y="149"/>
                </a:cubicBezTo>
                <a:cubicBezTo>
                  <a:pt x="182" y="149"/>
                  <a:pt x="182" y="149"/>
                  <a:pt x="182" y="149"/>
                </a:cubicBezTo>
                <a:lnTo>
                  <a:pt x="182" y="106"/>
                </a:lnTo>
                <a:close/>
                <a:moveTo>
                  <a:pt x="54" y="106"/>
                </a:moveTo>
                <a:cubicBezTo>
                  <a:pt x="118" y="106"/>
                  <a:pt x="118" y="106"/>
                  <a:pt x="118" y="106"/>
                </a:cubicBezTo>
                <a:cubicBezTo>
                  <a:pt x="118" y="149"/>
                  <a:pt x="118" y="149"/>
                  <a:pt x="118" y="149"/>
                </a:cubicBezTo>
                <a:cubicBezTo>
                  <a:pt x="54" y="149"/>
                  <a:pt x="54" y="149"/>
                  <a:pt x="54" y="149"/>
                </a:cubicBezTo>
                <a:lnTo>
                  <a:pt x="54" y="106"/>
                </a:lnTo>
                <a:close/>
                <a:moveTo>
                  <a:pt x="267" y="277"/>
                </a:moveTo>
                <a:cubicBezTo>
                  <a:pt x="32" y="277"/>
                  <a:pt x="32" y="277"/>
                  <a:pt x="32" y="277"/>
                </a:cubicBezTo>
                <a:cubicBezTo>
                  <a:pt x="32" y="170"/>
                  <a:pt x="32" y="170"/>
                  <a:pt x="32" y="170"/>
                </a:cubicBezTo>
                <a:cubicBezTo>
                  <a:pt x="267" y="170"/>
                  <a:pt x="267" y="170"/>
                  <a:pt x="267" y="170"/>
                </a:cubicBezTo>
                <a:lnTo>
                  <a:pt x="267" y="277"/>
                </a:lnTo>
                <a:close/>
                <a:moveTo>
                  <a:pt x="214" y="64"/>
                </a:moveTo>
                <a:cubicBezTo>
                  <a:pt x="231" y="64"/>
                  <a:pt x="246" y="49"/>
                  <a:pt x="246" y="32"/>
                </a:cubicBezTo>
                <a:cubicBezTo>
                  <a:pt x="246" y="14"/>
                  <a:pt x="231" y="0"/>
                  <a:pt x="214" y="0"/>
                </a:cubicBezTo>
                <a:cubicBezTo>
                  <a:pt x="196" y="0"/>
                  <a:pt x="182" y="14"/>
                  <a:pt x="182" y="32"/>
                </a:cubicBezTo>
                <a:cubicBezTo>
                  <a:pt x="182" y="49"/>
                  <a:pt x="196" y="64"/>
                  <a:pt x="214" y="64"/>
                </a:cubicBezTo>
                <a:close/>
                <a:moveTo>
                  <a:pt x="214" y="21"/>
                </a:moveTo>
                <a:cubicBezTo>
                  <a:pt x="220" y="21"/>
                  <a:pt x="224" y="26"/>
                  <a:pt x="224" y="32"/>
                </a:cubicBezTo>
                <a:cubicBezTo>
                  <a:pt x="224" y="38"/>
                  <a:pt x="220" y="42"/>
                  <a:pt x="214" y="42"/>
                </a:cubicBezTo>
                <a:cubicBezTo>
                  <a:pt x="208" y="42"/>
                  <a:pt x="203" y="38"/>
                  <a:pt x="203" y="32"/>
                </a:cubicBezTo>
                <a:cubicBezTo>
                  <a:pt x="203" y="26"/>
                  <a:pt x="208" y="21"/>
                  <a:pt x="214" y="21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1CE2C2-4826-78F7-E7F1-1FB95FD4BD70}"/>
              </a:ext>
            </a:extLst>
          </p:cNvPr>
          <p:cNvSpPr/>
          <p:nvPr/>
        </p:nvSpPr>
        <p:spPr>
          <a:xfrm>
            <a:off x="1538226" y="2054902"/>
            <a:ext cx="2160000" cy="658519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Poskytovatel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Centrálních prvků C-IT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6F894D3-9BD0-0B23-8DF3-583C7497B8A1}"/>
              </a:ext>
            </a:extLst>
          </p:cNvPr>
          <p:cNvGrpSpPr>
            <a:grpSpLocks noChangeAspect="1"/>
          </p:cNvGrpSpPr>
          <p:nvPr/>
        </p:nvGrpSpPr>
        <p:grpSpPr>
          <a:xfrm>
            <a:off x="907714" y="2118934"/>
            <a:ext cx="404283" cy="360000"/>
            <a:chOff x="5061952" y="1170650"/>
            <a:chExt cx="612494" cy="545403"/>
          </a:xfrm>
          <a:solidFill>
            <a:srgbClr val="012169"/>
          </a:solidFill>
        </p:grpSpPr>
        <p:sp>
          <p:nvSpPr>
            <p:cNvPr id="25" name="Freeform 464">
              <a:extLst>
                <a:ext uri="{FF2B5EF4-FFF2-40B4-BE49-F238E27FC236}">
                  <a16:creationId xmlns:a16="http://schemas.microsoft.com/office/drawing/2014/main" id="{D61A230D-468B-FBDB-13C1-949B00A17D5C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5477509" y="1471672"/>
              <a:ext cx="252000" cy="141874"/>
            </a:xfrm>
            <a:custGeom>
              <a:avLst/>
              <a:gdLst>
                <a:gd name="T0" fmla="*/ 309 w 320"/>
                <a:gd name="T1" fmla="*/ 53 h 128"/>
                <a:gd name="T2" fmla="*/ 127 w 320"/>
                <a:gd name="T3" fmla="*/ 53 h 128"/>
                <a:gd name="T4" fmla="*/ 64 w 320"/>
                <a:gd name="T5" fmla="*/ 0 h 128"/>
                <a:gd name="T6" fmla="*/ 0 w 320"/>
                <a:gd name="T7" fmla="*/ 64 h 128"/>
                <a:gd name="T8" fmla="*/ 64 w 320"/>
                <a:gd name="T9" fmla="*/ 128 h 128"/>
                <a:gd name="T10" fmla="*/ 127 w 320"/>
                <a:gd name="T11" fmla="*/ 74 h 128"/>
                <a:gd name="T12" fmla="*/ 256 w 320"/>
                <a:gd name="T13" fmla="*/ 74 h 128"/>
                <a:gd name="T14" fmla="*/ 256 w 320"/>
                <a:gd name="T15" fmla="*/ 96 h 128"/>
                <a:gd name="T16" fmla="*/ 266 w 320"/>
                <a:gd name="T17" fmla="*/ 106 h 128"/>
                <a:gd name="T18" fmla="*/ 277 w 320"/>
                <a:gd name="T19" fmla="*/ 96 h 128"/>
                <a:gd name="T20" fmla="*/ 277 w 320"/>
                <a:gd name="T21" fmla="*/ 74 h 128"/>
                <a:gd name="T22" fmla="*/ 298 w 320"/>
                <a:gd name="T23" fmla="*/ 74 h 128"/>
                <a:gd name="T24" fmla="*/ 298 w 320"/>
                <a:gd name="T25" fmla="*/ 117 h 128"/>
                <a:gd name="T26" fmla="*/ 309 w 320"/>
                <a:gd name="T27" fmla="*/ 128 h 128"/>
                <a:gd name="T28" fmla="*/ 320 w 320"/>
                <a:gd name="T29" fmla="*/ 117 h 128"/>
                <a:gd name="T30" fmla="*/ 320 w 320"/>
                <a:gd name="T31" fmla="*/ 64 h 128"/>
                <a:gd name="T32" fmla="*/ 309 w 320"/>
                <a:gd name="T33" fmla="*/ 53 h 128"/>
                <a:gd name="T34" fmla="*/ 64 w 320"/>
                <a:gd name="T35" fmla="*/ 106 h 128"/>
                <a:gd name="T36" fmla="*/ 21 w 320"/>
                <a:gd name="T37" fmla="*/ 64 h 128"/>
                <a:gd name="T38" fmla="*/ 64 w 320"/>
                <a:gd name="T39" fmla="*/ 21 h 128"/>
                <a:gd name="T40" fmla="*/ 106 w 320"/>
                <a:gd name="T41" fmla="*/ 64 h 128"/>
                <a:gd name="T42" fmla="*/ 64 w 320"/>
                <a:gd name="T4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2E37BEE-0E24-4EE1-4E1B-BA92E3217BF0}"/>
                </a:ext>
              </a:extLst>
            </p:cNvPr>
            <p:cNvGrpSpPr/>
            <p:nvPr/>
          </p:nvGrpSpPr>
          <p:grpSpPr>
            <a:xfrm>
              <a:off x="5061952" y="1209279"/>
              <a:ext cx="464932" cy="506774"/>
              <a:chOff x="3597045" y="642734"/>
              <a:chExt cx="1996732" cy="2230815"/>
            </a:xfrm>
            <a:grpFill/>
          </p:grpSpPr>
          <p:sp>
            <p:nvSpPr>
              <p:cNvPr id="28" name="Freeform 7">
                <a:extLst>
                  <a:ext uri="{FF2B5EF4-FFF2-40B4-BE49-F238E27FC236}">
                    <a16:creationId xmlns:a16="http://schemas.microsoft.com/office/drawing/2014/main" id="{0D0094F0-2D69-1E83-E0F9-C08F2A9561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7045" y="642734"/>
                <a:ext cx="860240" cy="2085309"/>
              </a:xfrm>
              <a:custGeom>
                <a:avLst/>
                <a:gdLst>
                  <a:gd name="T0" fmla="*/ 86 w 149"/>
                  <a:gd name="T1" fmla="*/ 290 h 348"/>
                  <a:gd name="T2" fmla="*/ 86 w 149"/>
                  <a:gd name="T3" fmla="*/ 290 h 348"/>
                  <a:gd name="T4" fmla="*/ 74 w 149"/>
                  <a:gd name="T5" fmla="*/ 302 h 348"/>
                  <a:gd name="T6" fmla="*/ 62 w 149"/>
                  <a:gd name="T7" fmla="*/ 290 h 348"/>
                  <a:gd name="T8" fmla="*/ 74 w 149"/>
                  <a:gd name="T9" fmla="*/ 278 h 348"/>
                  <a:gd name="T10" fmla="*/ 86 w 149"/>
                  <a:gd name="T11" fmla="*/ 290 h 348"/>
                  <a:gd name="T12" fmla="*/ 149 w 149"/>
                  <a:gd name="T13" fmla="*/ 24 h 348"/>
                  <a:gd name="T14" fmla="*/ 149 w 149"/>
                  <a:gd name="T15" fmla="*/ 24 h 348"/>
                  <a:gd name="T16" fmla="*/ 149 w 149"/>
                  <a:gd name="T17" fmla="*/ 325 h 348"/>
                  <a:gd name="T18" fmla="*/ 124 w 149"/>
                  <a:gd name="T19" fmla="*/ 348 h 348"/>
                  <a:gd name="T20" fmla="*/ 25 w 149"/>
                  <a:gd name="T21" fmla="*/ 348 h 348"/>
                  <a:gd name="T22" fmla="*/ 0 w 149"/>
                  <a:gd name="T23" fmla="*/ 325 h 348"/>
                  <a:gd name="T24" fmla="*/ 0 w 149"/>
                  <a:gd name="T25" fmla="*/ 24 h 348"/>
                  <a:gd name="T26" fmla="*/ 25 w 149"/>
                  <a:gd name="T27" fmla="*/ 0 h 348"/>
                  <a:gd name="T28" fmla="*/ 124 w 149"/>
                  <a:gd name="T29" fmla="*/ 0 h 348"/>
                  <a:gd name="T30" fmla="*/ 149 w 149"/>
                  <a:gd name="T31" fmla="*/ 24 h 348"/>
                  <a:gd name="T32" fmla="*/ 126 w 149"/>
                  <a:gd name="T33" fmla="*/ 324 h 348"/>
                  <a:gd name="T34" fmla="*/ 126 w 149"/>
                  <a:gd name="T35" fmla="*/ 324 h 348"/>
                  <a:gd name="T36" fmla="*/ 126 w 149"/>
                  <a:gd name="T37" fmla="*/ 24 h 348"/>
                  <a:gd name="T38" fmla="*/ 22 w 149"/>
                  <a:gd name="T39" fmla="*/ 24 h 348"/>
                  <a:gd name="T40" fmla="*/ 22 w 149"/>
                  <a:gd name="T41" fmla="*/ 325 h 348"/>
                  <a:gd name="T42" fmla="*/ 124 w 149"/>
                  <a:gd name="T43" fmla="*/ 325 h 348"/>
                  <a:gd name="T44" fmla="*/ 126 w 149"/>
                  <a:gd name="T45" fmla="*/ 324 h 348"/>
                  <a:gd name="T46" fmla="*/ 114 w 149"/>
                  <a:gd name="T47" fmla="*/ 47 h 348"/>
                  <a:gd name="T48" fmla="*/ 114 w 149"/>
                  <a:gd name="T49" fmla="*/ 47 h 348"/>
                  <a:gd name="T50" fmla="*/ 114 w 149"/>
                  <a:gd name="T51" fmla="*/ 244 h 348"/>
                  <a:gd name="T52" fmla="*/ 102 w 149"/>
                  <a:gd name="T53" fmla="*/ 256 h 348"/>
                  <a:gd name="T54" fmla="*/ 46 w 149"/>
                  <a:gd name="T55" fmla="*/ 256 h 348"/>
                  <a:gd name="T56" fmla="*/ 34 w 149"/>
                  <a:gd name="T57" fmla="*/ 244 h 348"/>
                  <a:gd name="T58" fmla="*/ 34 w 149"/>
                  <a:gd name="T59" fmla="*/ 47 h 348"/>
                  <a:gd name="T60" fmla="*/ 46 w 149"/>
                  <a:gd name="T61" fmla="*/ 35 h 348"/>
                  <a:gd name="T62" fmla="*/ 102 w 149"/>
                  <a:gd name="T63" fmla="*/ 35 h 348"/>
                  <a:gd name="T64" fmla="*/ 114 w 149"/>
                  <a:gd name="T65" fmla="*/ 47 h 348"/>
                  <a:gd name="T66" fmla="*/ 57 w 149"/>
                  <a:gd name="T67" fmla="*/ 233 h 348"/>
                  <a:gd name="T68" fmla="*/ 57 w 149"/>
                  <a:gd name="T69" fmla="*/ 233 h 348"/>
                  <a:gd name="T70" fmla="*/ 91 w 149"/>
                  <a:gd name="T71" fmla="*/ 233 h 348"/>
                  <a:gd name="T72" fmla="*/ 91 w 149"/>
                  <a:gd name="T73" fmla="*/ 59 h 348"/>
                  <a:gd name="T74" fmla="*/ 57 w 149"/>
                  <a:gd name="T75" fmla="*/ 59 h 348"/>
                  <a:gd name="T76" fmla="*/ 57 w 149"/>
                  <a:gd name="T77" fmla="*/ 23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9" h="348">
                    <a:moveTo>
                      <a:pt x="86" y="290"/>
                    </a:moveTo>
                    <a:lnTo>
                      <a:pt x="86" y="290"/>
                    </a:lnTo>
                    <a:cubicBezTo>
                      <a:pt x="86" y="297"/>
                      <a:pt x="81" y="302"/>
                      <a:pt x="74" y="302"/>
                    </a:cubicBezTo>
                    <a:cubicBezTo>
                      <a:pt x="68" y="302"/>
                      <a:pt x="62" y="297"/>
                      <a:pt x="62" y="290"/>
                    </a:cubicBezTo>
                    <a:cubicBezTo>
                      <a:pt x="62" y="284"/>
                      <a:pt x="68" y="278"/>
                      <a:pt x="74" y="278"/>
                    </a:cubicBezTo>
                    <a:cubicBezTo>
                      <a:pt x="81" y="278"/>
                      <a:pt x="86" y="284"/>
                      <a:pt x="86" y="290"/>
                    </a:cubicBezTo>
                    <a:close/>
                    <a:moveTo>
                      <a:pt x="149" y="24"/>
                    </a:moveTo>
                    <a:lnTo>
                      <a:pt x="149" y="24"/>
                    </a:lnTo>
                    <a:lnTo>
                      <a:pt x="149" y="325"/>
                    </a:lnTo>
                    <a:cubicBezTo>
                      <a:pt x="149" y="338"/>
                      <a:pt x="138" y="348"/>
                      <a:pt x="124" y="348"/>
                    </a:cubicBezTo>
                    <a:lnTo>
                      <a:pt x="25" y="348"/>
                    </a:lnTo>
                    <a:cubicBezTo>
                      <a:pt x="11" y="348"/>
                      <a:pt x="0" y="338"/>
                      <a:pt x="0" y="32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5" y="0"/>
                    </a:cubicBezTo>
                    <a:lnTo>
                      <a:pt x="124" y="0"/>
                    </a:ln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26" y="324"/>
                    </a:moveTo>
                    <a:lnTo>
                      <a:pt x="126" y="324"/>
                    </a:lnTo>
                    <a:lnTo>
                      <a:pt x="126" y="24"/>
                    </a:lnTo>
                    <a:lnTo>
                      <a:pt x="22" y="24"/>
                    </a:lnTo>
                    <a:lnTo>
                      <a:pt x="22" y="325"/>
                    </a:lnTo>
                    <a:lnTo>
                      <a:pt x="124" y="325"/>
                    </a:lnTo>
                    <a:cubicBezTo>
                      <a:pt x="125" y="325"/>
                      <a:pt x="126" y="325"/>
                      <a:pt x="126" y="324"/>
                    </a:cubicBezTo>
                    <a:close/>
                    <a:moveTo>
                      <a:pt x="114" y="47"/>
                    </a:moveTo>
                    <a:lnTo>
                      <a:pt x="114" y="47"/>
                    </a:lnTo>
                    <a:lnTo>
                      <a:pt x="114" y="244"/>
                    </a:lnTo>
                    <a:cubicBezTo>
                      <a:pt x="114" y="250"/>
                      <a:pt x="109" y="256"/>
                      <a:pt x="102" y="256"/>
                    </a:cubicBezTo>
                    <a:lnTo>
                      <a:pt x="46" y="256"/>
                    </a:lnTo>
                    <a:cubicBezTo>
                      <a:pt x="40" y="256"/>
                      <a:pt x="34" y="250"/>
                      <a:pt x="34" y="244"/>
                    </a:cubicBezTo>
                    <a:lnTo>
                      <a:pt x="34" y="47"/>
                    </a:lnTo>
                    <a:cubicBezTo>
                      <a:pt x="34" y="41"/>
                      <a:pt x="40" y="35"/>
                      <a:pt x="46" y="35"/>
                    </a:cubicBezTo>
                    <a:lnTo>
                      <a:pt x="102" y="35"/>
                    </a:lnTo>
                    <a:cubicBezTo>
                      <a:pt x="109" y="35"/>
                      <a:pt x="114" y="41"/>
                      <a:pt x="114" y="47"/>
                    </a:cubicBezTo>
                    <a:close/>
                    <a:moveTo>
                      <a:pt x="57" y="233"/>
                    </a:moveTo>
                    <a:lnTo>
                      <a:pt x="57" y="233"/>
                    </a:lnTo>
                    <a:lnTo>
                      <a:pt x="91" y="233"/>
                    </a:lnTo>
                    <a:lnTo>
                      <a:pt x="91" y="59"/>
                    </a:lnTo>
                    <a:lnTo>
                      <a:pt x="57" y="59"/>
                    </a:lnTo>
                    <a:lnTo>
                      <a:pt x="57" y="233"/>
                    </a:lnTo>
                    <a:close/>
                  </a:path>
                </a:pathLst>
              </a:custGeom>
              <a:grpFill/>
              <a:ln w="127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49CA37BB-B427-D06A-B2AA-FEF3FA24CD97}"/>
                  </a:ext>
                </a:extLst>
              </p:cNvPr>
              <p:cNvGrpSpPr/>
              <p:nvPr/>
            </p:nvGrpSpPr>
            <p:grpSpPr>
              <a:xfrm>
                <a:off x="4420477" y="1307204"/>
                <a:ext cx="1173300" cy="1566345"/>
                <a:chOff x="9265934" y="2596594"/>
                <a:chExt cx="1173300" cy="1566345"/>
              </a:xfrm>
              <a:grpFill/>
            </p:grpSpPr>
            <p:sp>
              <p:nvSpPr>
                <p:cNvPr id="37" name="Freeform 12">
                  <a:extLst>
                    <a:ext uri="{FF2B5EF4-FFF2-40B4-BE49-F238E27FC236}">
                      <a16:creationId xmlns:a16="http://schemas.microsoft.com/office/drawing/2014/main" id="{094519E6-EA16-7E3E-BD1F-C1C18701FC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5934" y="2596594"/>
                  <a:ext cx="1173300" cy="1451261"/>
                </a:xfrm>
                <a:custGeom>
                  <a:avLst/>
                  <a:gdLst>
                    <a:gd name="T0" fmla="*/ 22 w 372"/>
                    <a:gd name="T1" fmla="*/ 84 h 474"/>
                    <a:gd name="T2" fmla="*/ 186 w 372"/>
                    <a:gd name="T3" fmla="*/ 144 h 474"/>
                    <a:gd name="T4" fmla="*/ 186 w 372"/>
                    <a:gd name="T5" fmla="*/ 372 h 474"/>
                    <a:gd name="T6" fmla="*/ 351 w 372"/>
                    <a:gd name="T7" fmla="*/ 391 h 474"/>
                    <a:gd name="T8" fmla="*/ 22 w 372"/>
                    <a:gd name="T9" fmla="*/ 393 h 474"/>
                    <a:gd name="T10" fmla="*/ 22 w 372"/>
                    <a:gd name="T11" fmla="*/ 328 h 474"/>
                    <a:gd name="T12" fmla="*/ 322 w 372"/>
                    <a:gd name="T13" fmla="*/ 320 h 474"/>
                    <a:gd name="T14" fmla="*/ 252 w 372"/>
                    <a:gd name="T15" fmla="*/ 343 h 474"/>
                    <a:gd name="T16" fmla="*/ 234 w 372"/>
                    <a:gd name="T17" fmla="*/ 346 h 474"/>
                    <a:gd name="T18" fmla="*/ 214 w 372"/>
                    <a:gd name="T19" fmla="*/ 347 h 474"/>
                    <a:gd name="T20" fmla="*/ 158 w 372"/>
                    <a:gd name="T21" fmla="*/ 347 h 474"/>
                    <a:gd name="T22" fmla="*/ 138 w 372"/>
                    <a:gd name="T23" fmla="*/ 346 h 474"/>
                    <a:gd name="T24" fmla="*/ 59 w 372"/>
                    <a:gd name="T25" fmla="*/ 325 h 474"/>
                    <a:gd name="T26" fmla="*/ 42 w 372"/>
                    <a:gd name="T27" fmla="*/ 315 h 474"/>
                    <a:gd name="T28" fmla="*/ 35 w 372"/>
                    <a:gd name="T29" fmla="*/ 310 h 474"/>
                    <a:gd name="T30" fmla="*/ 27 w 372"/>
                    <a:gd name="T31" fmla="*/ 301 h 474"/>
                    <a:gd name="T32" fmla="*/ 23 w 372"/>
                    <a:gd name="T33" fmla="*/ 294 h 474"/>
                    <a:gd name="T34" fmla="*/ 22 w 372"/>
                    <a:gd name="T35" fmla="*/ 226 h 474"/>
                    <a:gd name="T36" fmla="*/ 351 w 372"/>
                    <a:gd name="T37" fmla="*/ 227 h 474"/>
                    <a:gd name="T38" fmla="*/ 351 w 372"/>
                    <a:gd name="T39" fmla="*/ 291 h 474"/>
                    <a:gd name="T40" fmla="*/ 349 w 372"/>
                    <a:gd name="T41" fmla="*/ 296 h 474"/>
                    <a:gd name="T42" fmla="*/ 344 w 372"/>
                    <a:gd name="T43" fmla="*/ 304 h 474"/>
                    <a:gd name="T44" fmla="*/ 336 w 372"/>
                    <a:gd name="T45" fmla="*/ 311 h 474"/>
                    <a:gd name="T46" fmla="*/ 323 w 372"/>
                    <a:gd name="T47" fmla="*/ 320 h 474"/>
                    <a:gd name="T48" fmla="*/ 48 w 372"/>
                    <a:gd name="T49" fmla="*/ 221 h 474"/>
                    <a:gd name="T50" fmla="*/ 48 w 372"/>
                    <a:gd name="T51" fmla="*/ 221 h 474"/>
                    <a:gd name="T52" fmla="*/ 22 w 372"/>
                    <a:gd name="T53" fmla="*/ 124 h 474"/>
                    <a:gd name="T54" fmla="*/ 29 w 372"/>
                    <a:gd name="T55" fmla="*/ 130 h 474"/>
                    <a:gd name="T56" fmla="*/ 48 w 372"/>
                    <a:gd name="T57" fmla="*/ 142 h 474"/>
                    <a:gd name="T58" fmla="*/ 64 w 372"/>
                    <a:gd name="T59" fmla="*/ 148 h 474"/>
                    <a:gd name="T60" fmla="*/ 90 w 372"/>
                    <a:gd name="T61" fmla="*/ 157 h 474"/>
                    <a:gd name="T62" fmla="*/ 110 w 372"/>
                    <a:gd name="T63" fmla="*/ 161 h 474"/>
                    <a:gd name="T64" fmla="*/ 143 w 372"/>
                    <a:gd name="T65" fmla="*/ 166 h 474"/>
                    <a:gd name="T66" fmla="*/ 167 w 372"/>
                    <a:gd name="T67" fmla="*/ 168 h 474"/>
                    <a:gd name="T68" fmla="*/ 226 w 372"/>
                    <a:gd name="T69" fmla="*/ 166 h 474"/>
                    <a:gd name="T70" fmla="*/ 250 w 372"/>
                    <a:gd name="T71" fmla="*/ 163 h 474"/>
                    <a:gd name="T72" fmla="*/ 281 w 372"/>
                    <a:gd name="T73" fmla="*/ 157 h 474"/>
                    <a:gd name="T74" fmla="*/ 300 w 372"/>
                    <a:gd name="T75" fmla="*/ 152 h 474"/>
                    <a:gd name="T76" fmla="*/ 323 w 372"/>
                    <a:gd name="T77" fmla="*/ 142 h 474"/>
                    <a:gd name="T78" fmla="*/ 336 w 372"/>
                    <a:gd name="T79" fmla="*/ 135 h 474"/>
                    <a:gd name="T80" fmla="*/ 351 w 372"/>
                    <a:gd name="T81" fmla="*/ 124 h 474"/>
                    <a:gd name="T82" fmla="*/ 350 w 372"/>
                    <a:gd name="T83" fmla="*/ 192 h 474"/>
                    <a:gd name="T84" fmla="*/ 346 w 372"/>
                    <a:gd name="T85" fmla="*/ 199 h 474"/>
                    <a:gd name="T86" fmla="*/ 338 w 372"/>
                    <a:gd name="T87" fmla="*/ 208 h 474"/>
                    <a:gd name="T88" fmla="*/ 330 w 372"/>
                    <a:gd name="T89" fmla="*/ 214 h 474"/>
                    <a:gd name="T90" fmla="*/ 313 w 372"/>
                    <a:gd name="T91" fmla="*/ 223 h 474"/>
                    <a:gd name="T92" fmla="*/ 237 w 372"/>
                    <a:gd name="T93" fmla="*/ 243 h 474"/>
                    <a:gd name="T94" fmla="*/ 216 w 372"/>
                    <a:gd name="T95" fmla="*/ 245 h 474"/>
                    <a:gd name="T96" fmla="*/ 169 w 372"/>
                    <a:gd name="T97" fmla="*/ 246 h 474"/>
                    <a:gd name="T98" fmla="*/ 139 w 372"/>
                    <a:gd name="T99" fmla="*/ 244 h 474"/>
                    <a:gd name="T100" fmla="*/ 121 w 372"/>
                    <a:gd name="T101" fmla="*/ 241 h 474"/>
                    <a:gd name="T102" fmla="*/ 50 w 372"/>
                    <a:gd name="T103" fmla="*/ 218 h 474"/>
                    <a:gd name="T104" fmla="*/ 36 w 372"/>
                    <a:gd name="T105" fmla="*/ 209 h 474"/>
                    <a:gd name="T106" fmla="*/ 29 w 372"/>
                    <a:gd name="T107" fmla="*/ 202 h 474"/>
                    <a:gd name="T108" fmla="*/ 24 w 372"/>
                    <a:gd name="T109" fmla="*/ 194 h 474"/>
                    <a:gd name="T110" fmla="*/ 22 w 372"/>
                    <a:gd name="T111" fmla="*/ 186 h 474"/>
                    <a:gd name="T112" fmla="*/ 371 w 372"/>
                    <a:gd name="T113" fmla="*/ 74 h 474"/>
                    <a:gd name="T114" fmla="*/ 2 w 372"/>
                    <a:gd name="T115" fmla="*/ 74 h 474"/>
                    <a:gd name="T116" fmla="*/ 1 w 372"/>
                    <a:gd name="T117" fmla="*/ 399 h 474"/>
                    <a:gd name="T118" fmla="*/ 372 w 372"/>
                    <a:gd name="T119" fmla="*/ 394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72" h="474">
                      <a:moveTo>
                        <a:pt x="186" y="144"/>
                      </a:moveTo>
                      <a:lnTo>
                        <a:pt x="186" y="144"/>
                      </a:lnTo>
                      <a:cubicBezTo>
                        <a:pt x="84" y="144"/>
                        <a:pt x="22" y="109"/>
                        <a:pt x="22" y="84"/>
                      </a:cubicBezTo>
                      <a:cubicBezTo>
                        <a:pt x="22" y="46"/>
                        <a:pt x="118" y="23"/>
                        <a:pt x="186" y="23"/>
                      </a:cubicBezTo>
                      <a:cubicBezTo>
                        <a:pt x="288" y="23"/>
                        <a:pt x="351" y="59"/>
                        <a:pt x="351" y="84"/>
                      </a:cubicBezTo>
                      <a:cubicBezTo>
                        <a:pt x="351" y="109"/>
                        <a:pt x="288" y="144"/>
                        <a:pt x="186" y="144"/>
                      </a:cubicBezTo>
                      <a:lnTo>
                        <a:pt x="186" y="144"/>
                      </a:lnTo>
                      <a:close/>
                      <a:moveTo>
                        <a:pt x="186" y="372"/>
                      </a:moveTo>
                      <a:lnTo>
                        <a:pt x="186" y="372"/>
                      </a:lnTo>
                      <a:cubicBezTo>
                        <a:pt x="259" y="372"/>
                        <a:pt x="319" y="356"/>
                        <a:pt x="351" y="329"/>
                      </a:cubicBezTo>
                      <a:cubicBezTo>
                        <a:pt x="351" y="328"/>
                        <a:pt x="351" y="328"/>
                        <a:pt x="351" y="328"/>
                      </a:cubicBezTo>
                      <a:lnTo>
                        <a:pt x="351" y="391"/>
                      </a:lnTo>
                      <a:lnTo>
                        <a:pt x="351" y="392"/>
                      </a:lnTo>
                      <a:cubicBezTo>
                        <a:pt x="347" y="420"/>
                        <a:pt x="279" y="450"/>
                        <a:pt x="186" y="450"/>
                      </a:cubicBezTo>
                      <a:cubicBezTo>
                        <a:pt x="94" y="450"/>
                        <a:pt x="26" y="420"/>
                        <a:pt x="22" y="393"/>
                      </a:cubicBezTo>
                      <a:cubicBezTo>
                        <a:pt x="22" y="392"/>
                        <a:pt x="22" y="392"/>
                        <a:pt x="22" y="392"/>
                      </a:cubicBezTo>
                      <a:lnTo>
                        <a:pt x="22" y="328"/>
                      </a:lnTo>
                      <a:cubicBezTo>
                        <a:pt x="22" y="328"/>
                        <a:pt x="22" y="328"/>
                        <a:pt x="22" y="328"/>
                      </a:cubicBezTo>
                      <a:cubicBezTo>
                        <a:pt x="53" y="356"/>
                        <a:pt x="113" y="372"/>
                        <a:pt x="186" y="372"/>
                      </a:cubicBezTo>
                      <a:lnTo>
                        <a:pt x="186" y="372"/>
                      </a:lnTo>
                      <a:close/>
                      <a:moveTo>
                        <a:pt x="322" y="320"/>
                      </a:moveTo>
                      <a:lnTo>
                        <a:pt x="322" y="320"/>
                      </a:lnTo>
                      <a:cubicBezTo>
                        <a:pt x="320" y="322"/>
                        <a:pt x="317" y="323"/>
                        <a:pt x="313" y="325"/>
                      </a:cubicBezTo>
                      <a:cubicBezTo>
                        <a:pt x="297" y="333"/>
                        <a:pt x="275" y="339"/>
                        <a:pt x="252" y="343"/>
                      </a:cubicBezTo>
                      <a:lnTo>
                        <a:pt x="251" y="343"/>
                      </a:lnTo>
                      <a:cubicBezTo>
                        <a:pt x="247" y="344"/>
                        <a:pt x="242" y="345"/>
                        <a:pt x="237" y="345"/>
                      </a:cubicBezTo>
                      <a:lnTo>
                        <a:pt x="234" y="346"/>
                      </a:lnTo>
                      <a:cubicBezTo>
                        <a:pt x="230" y="346"/>
                        <a:pt x="225" y="347"/>
                        <a:pt x="221" y="347"/>
                      </a:cubicBezTo>
                      <a:cubicBezTo>
                        <a:pt x="220" y="347"/>
                        <a:pt x="219" y="347"/>
                        <a:pt x="217" y="347"/>
                      </a:cubicBezTo>
                      <a:lnTo>
                        <a:pt x="214" y="347"/>
                      </a:lnTo>
                      <a:cubicBezTo>
                        <a:pt x="210" y="348"/>
                        <a:pt x="207" y="348"/>
                        <a:pt x="204" y="348"/>
                      </a:cubicBezTo>
                      <a:cubicBezTo>
                        <a:pt x="192" y="349"/>
                        <a:pt x="180" y="349"/>
                        <a:pt x="169" y="348"/>
                      </a:cubicBezTo>
                      <a:cubicBezTo>
                        <a:pt x="165" y="348"/>
                        <a:pt x="162" y="348"/>
                        <a:pt x="158" y="347"/>
                      </a:cubicBezTo>
                      <a:lnTo>
                        <a:pt x="157" y="347"/>
                      </a:lnTo>
                      <a:cubicBezTo>
                        <a:pt x="155" y="347"/>
                        <a:pt x="154" y="347"/>
                        <a:pt x="152" y="347"/>
                      </a:cubicBezTo>
                      <a:cubicBezTo>
                        <a:pt x="147" y="347"/>
                        <a:pt x="143" y="346"/>
                        <a:pt x="138" y="346"/>
                      </a:cubicBezTo>
                      <a:cubicBezTo>
                        <a:pt x="137" y="345"/>
                        <a:pt x="137" y="345"/>
                        <a:pt x="136" y="345"/>
                      </a:cubicBezTo>
                      <a:cubicBezTo>
                        <a:pt x="131" y="345"/>
                        <a:pt x="126" y="344"/>
                        <a:pt x="121" y="343"/>
                      </a:cubicBezTo>
                      <a:cubicBezTo>
                        <a:pt x="98" y="339"/>
                        <a:pt x="76" y="333"/>
                        <a:pt x="59" y="325"/>
                      </a:cubicBezTo>
                      <a:cubicBezTo>
                        <a:pt x="56" y="323"/>
                        <a:pt x="53" y="322"/>
                        <a:pt x="51" y="320"/>
                      </a:cubicBezTo>
                      <a:lnTo>
                        <a:pt x="50" y="320"/>
                      </a:lnTo>
                      <a:cubicBezTo>
                        <a:pt x="47" y="319"/>
                        <a:pt x="45" y="317"/>
                        <a:pt x="42" y="315"/>
                      </a:cubicBezTo>
                      <a:lnTo>
                        <a:pt x="41" y="315"/>
                      </a:lnTo>
                      <a:cubicBezTo>
                        <a:pt x="40" y="314"/>
                        <a:pt x="38" y="312"/>
                        <a:pt x="36" y="311"/>
                      </a:cubicBezTo>
                      <a:lnTo>
                        <a:pt x="35" y="310"/>
                      </a:lnTo>
                      <a:cubicBezTo>
                        <a:pt x="33" y="308"/>
                        <a:pt x="32" y="307"/>
                        <a:pt x="31" y="306"/>
                      </a:cubicBezTo>
                      <a:cubicBezTo>
                        <a:pt x="30" y="306"/>
                        <a:pt x="30" y="305"/>
                        <a:pt x="29" y="304"/>
                      </a:cubicBezTo>
                      <a:cubicBezTo>
                        <a:pt x="28" y="303"/>
                        <a:pt x="27" y="302"/>
                        <a:pt x="27" y="301"/>
                      </a:cubicBezTo>
                      <a:cubicBezTo>
                        <a:pt x="26" y="300"/>
                        <a:pt x="26" y="300"/>
                        <a:pt x="25" y="299"/>
                      </a:cubicBezTo>
                      <a:cubicBezTo>
                        <a:pt x="25" y="298"/>
                        <a:pt x="24" y="297"/>
                        <a:pt x="24" y="296"/>
                      </a:cubicBezTo>
                      <a:cubicBezTo>
                        <a:pt x="23" y="296"/>
                        <a:pt x="23" y="295"/>
                        <a:pt x="23" y="294"/>
                      </a:cubicBezTo>
                      <a:cubicBezTo>
                        <a:pt x="22" y="293"/>
                        <a:pt x="22" y="292"/>
                        <a:pt x="22" y="291"/>
                      </a:cubicBezTo>
                      <a:cubicBezTo>
                        <a:pt x="22" y="290"/>
                        <a:pt x="22" y="289"/>
                        <a:pt x="22" y="288"/>
                      </a:cubicBezTo>
                      <a:lnTo>
                        <a:pt x="22" y="226"/>
                      </a:lnTo>
                      <a:cubicBezTo>
                        <a:pt x="22" y="226"/>
                        <a:pt x="22" y="226"/>
                        <a:pt x="22" y="226"/>
                      </a:cubicBezTo>
                      <a:cubicBezTo>
                        <a:pt x="53" y="254"/>
                        <a:pt x="113" y="270"/>
                        <a:pt x="186" y="270"/>
                      </a:cubicBezTo>
                      <a:cubicBezTo>
                        <a:pt x="259" y="270"/>
                        <a:pt x="319" y="254"/>
                        <a:pt x="351" y="227"/>
                      </a:cubicBezTo>
                      <a:cubicBezTo>
                        <a:pt x="351" y="226"/>
                        <a:pt x="351" y="226"/>
                        <a:pt x="351" y="226"/>
                      </a:cubicBezTo>
                      <a:lnTo>
                        <a:pt x="351" y="288"/>
                      </a:lnTo>
                      <a:cubicBezTo>
                        <a:pt x="351" y="289"/>
                        <a:pt x="351" y="290"/>
                        <a:pt x="351" y="291"/>
                      </a:cubicBezTo>
                      <a:lnTo>
                        <a:pt x="351" y="291"/>
                      </a:lnTo>
                      <a:cubicBezTo>
                        <a:pt x="350" y="292"/>
                        <a:pt x="350" y="293"/>
                        <a:pt x="350" y="294"/>
                      </a:cubicBezTo>
                      <a:cubicBezTo>
                        <a:pt x="350" y="295"/>
                        <a:pt x="349" y="296"/>
                        <a:pt x="349" y="296"/>
                      </a:cubicBezTo>
                      <a:cubicBezTo>
                        <a:pt x="349" y="297"/>
                        <a:pt x="348" y="298"/>
                        <a:pt x="348" y="299"/>
                      </a:cubicBezTo>
                      <a:cubicBezTo>
                        <a:pt x="347" y="300"/>
                        <a:pt x="347" y="301"/>
                        <a:pt x="346" y="301"/>
                      </a:cubicBezTo>
                      <a:cubicBezTo>
                        <a:pt x="345" y="302"/>
                        <a:pt x="344" y="303"/>
                        <a:pt x="344" y="304"/>
                      </a:cubicBezTo>
                      <a:cubicBezTo>
                        <a:pt x="343" y="305"/>
                        <a:pt x="342" y="306"/>
                        <a:pt x="342" y="306"/>
                      </a:cubicBezTo>
                      <a:cubicBezTo>
                        <a:pt x="341" y="307"/>
                        <a:pt x="340" y="308"/>
                        <a:pt x="338" y="310"/>
                      </a:cubicBezTo>
                      <a:cubicBezTo>
                        <a:pt x="338" y="310"/>
                        <a:pt x="337" y="311"/>
                        <a:pt x="336" y="311"/>
                      </a:cubicBezTo>
                      <a:cubicBezTo>
                        <a:pt x="335" y="312"/>
                        <a:pt x="333" y="314"/>
                        <a:pt x="331" y="315"/>
                      </a:cubicBezTo>
                      <a:cubicBezTo>
                        <a:pt x="331" y="315"/>
                        <a:pt x="330" y="316"/>
                        <a:pt x="330" y="316"/>
                      </a:cubicBezTo>
                      <a:cubicBezTo>
                        <a:pt x="328" y="317"/>
                        <a:pt x="325" y="319"/>
                        <a:pt x="323" y="320"/>
                      </a:cubicBezTo>
                      <a:lnTo>
                        <a:pt x="322" y="320"/>
                      </a:lnTo>
                      <a:lnTo>
                        <a:pt x="322" y="320"/>
                      </a:lnTo>
                      <a:close/>
                      <a:moveTo>
                        <a:pt x="48" y="221"/>
                      </a:move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close/>
                      <a:moveTo>
                        <a:pt x="22" y="124"/>
                      </a:moveTo>
                      <a:lnTo>
                        <a:pt x="22" y="124"/>
                      </a:lnTo>
                      <a:cubicBezTo>
                        <a:pt x="23" y="126"/>
                        <a:pt x="26" y="127"/>
                        <a:pt x="28" y="129"/>
                      </a:cubicBezTo>
                      <a:lnTo>
                        <a:pt x="29" y="130"/>
                      </a:lnTo>
                      <a:cubicBezTo>
                        <a:pt x="32" y="132"/>
                        <a:pt x="34" y="133"/>
                        <a:pt x="37" y="135"/>
                      </a:cubicBezTo>
                      <a:lnTo>
                        <a:pt x="39" y="137"/>
                      </a:lnTo>
                      <a:cubicBezTo>
                        <a:pt x="42" y="138"/>
                        <a:pt x="45" y="140"/>
                        <a:pt x="48" y="142"/>
                      </a:cubicBezTo>
                      <a:cubicBezTo>
                        <a:pt x="49" y="142"/>
                        <a:pt x="49" y="142"/>
                        <a:pt x="49" y="142"/>
                      </a:cubicBezTo>
                      <a:cubicBezTo>
                        <a:pt x="53" y="144"/>
                        <a:pt x="56" y="145"/>
                        <a:pt x="60" y="147"/>
                      </a:cubicBezTo>
                      <a:lnTo>
                        <a:pt x="64" y="148"/>
                      </a:lnTo>
                      <a:cubicBezTo>
                        <a:pt x="67" y="150"/>
                        <a:pt x="70" y="151"/>
                        <a:pt x="74" y="152"/>
                      </a:cubicBezTo>
                      <a:cubicBezTo>
                        <a:pt x="75" y="152"/>
                        <a:pt x="76" y="153"/>
                        <a:pt x="77" y="153"/>
                      </a:cubicBezTo>
                      <a:cubicBezTo>
                        <a:pt x="81" y="154"/>
                        <a:pt x="85" y="156"/>
                        <a:pt x="90" y="157"/>
                      </a:cubicBezTo>
                      <a:cubicBezTo>
                        <a:pt x="90" y="157"/>
                        <a:pt x="91" y="157"/>
                        <a:pt x="92" y="157"/>
                      </a:cubicBezTo>
                      <a:cubicBezTo>
                        <a:pt x="96" y="158"/>
                        <a:pt x="101" y="159"/>
                        <a:pt x="105" y="160"/>
                      </a:cubicBezTo>
                      <a:lnTo>
                        <a:pt x="110" y="161"/>
                      </a:lnTo>
                      <a:cubicBezTo>
                        <a:pt x="114" y="162"/>
                        <a:pt x="118" y="163"/>
                        <a:pt x="122" y="163"/>
                      </a:cubicBezTo>
                      <a:lnTo>
                        <a:pt x="126" y="164"/>
                      </a:lnTo>
                      <a:cubicBezTo>
                        <a:pt x="131" y="165"/>
                        <a:pt x="137" y="165"/>
                        <a:pt x="143" y="166"/>
                      </a:cubicBezTo>
                      <a:lnTo>
                        <a:pt x="147" y="166"/>
                      </a:lnTo>
                      <a:cubicBezTo>
                        <a:pt x="152" y="167"/>
                        <a:pt x="156" y="167"/>
                        <a:pt x="161" y="167"/>
                      </a:cubicBezTo>
                      <a:lnTo>
                        <a:pt x="167" y="168"/>
                      </a:lnTo>
                      <a:cubicBezTo>
                        <a:pt x="180" y="168"/>
                        <a:pt x="193" y="168"/>
                        <a:pt x="206" y="168"/>
                      </a:cubicBezTo>
                      <a:lnTo>
                        <a:pt x="212" y="167"/>
                      </a:lnTo>
                      <a:cubicBezTo>
                        <a:pt x="217" y="167"/>
                        <a:pt x="221" y="167"/>
                        <a:pt x="226" y="166"/>
                      </a:cubicBezTo>
                      <a:lnTo>
                        <a:pt x="230" y="166"/>
                      </a:lnTo>
                      <a:cubicBezTo>
                        <a:pt x="236" y="165"/>
                        <a:pt x="241" y="165"/>
                        <a:pt x="247" y="164"/>
                      </a:cubicBezTo>
                      <a:lnTo>
                        <a:pt x="250" y="163"/>
                      </a:lnTo>
                      <a:cubicBezTo>
                        <a:pt x="255" y="163"/>
                        <a:pt x="259" y="162"/>
                        <a:pt x="263" y="161"/>
                      </a:cubicBezTo>
                      <a:lnTo>
                        <a:pt x="268" y="160"/>
                      </a:lnTo>
                      <a:cubicBezTo>
                        <a:pt x="272" y="159"/>
                        <a:pt x="276" y="158"/>
                        <a:pt x="281" y="157"/>
                      </a:cubicBezTo>
                      <a:lnTo>
                        <a:pt x="283" y="157"/>
                      </a:lnTo>
                      <a:cubicBezTo>
                        <a:pt x="287" y="156"/>
                        <a:pt x="292" y="154"/>
                        <a:pt x="296" y="153"/>
                      </a:cubicBezTo>
                      <a:lnTo>
                        <a:pt x="300" y="152"/>
                      </a:lnTo>
                      <a:cubicBezTo>
                        <a:pt x="303" y="151"/>
                        <a:pt x="306" y="150"/>
                        <a:pt x="309" y="148"/>
                      </a:cubicBezTo>
                      <a:lnTo>
                        <a:pt x="312" y="147"/>
                      </a:lnTo>
                      <a:cubicBezTo>
                        <a:pt x="316" y="145"/>
                        <a:pt x="320" y="144"/>
                        <a:pt x="323" y="142"/>
                      </a:cubicBezTo>
                      <a:cubicBezTo>
                        <a:pt x="324" y="142"/>
                        <a:pt x="324" y="142"/>
                        <a:pt x="325" y="141"/>
                      </a:cubicBezTo>
                      <a:cubicBezTo>
                        <a:pt x="328" y="140"/>
                        <a:pt x="331" y="138"/>
                        <a:pt x="334" y="137"/>
                      </a:cubicBezTo>
                      <a:lnTo>
                        <a:pt x="336" y="135"/>
                      </a:lnTo>
                      <a:cubicBezTo>
                        <a:pt x="339" y="133"/>
                        <a:pt x="341" y="132"/>
                        <a:pt x="344" y="130"/>
                      </a:cubicBezTo>
                      <a:lnTo>
                        <a:pt x="345" y="129"/>
                      </a:lnTo>
                      <a:cubicBezTo>
                        <a:pt x="347" y="127"/>
                        <a:pt x="349" y="126"/>
                        <a:pt x="351" y="124"/>
                      </a:cubicBezTo>
                      <a:lnTo>
                        <a:pt x="351" y="186"/>
                      </a:lnTo>
                      <a:cubicBezTo>
                        <a:pt x="351" y="187"/>
                        <a:pt x="351" y="188"/>
                        <a:pt x="351" y="189"/>
                      </a:cubicBezTo>
                      <a:cubicBezTo>
                        <a:pt x="350" y="190"/>
                        <a:pt x="350" y="191"/>
                        <a:pt x="350" y="192"/>
                      </a:cubicBezTo>
                      <a:cubicBezTo>
                        <a:pt x="350" y="193"/>
                        <a:pt x="349" y="194"/>
                        <a:pt x="349" y="194"/>
                      </a:cubicBezTo>
                      <a:cubicBezTo>
                        <a:pt x="349" y="195"/>
                        <a:pt x="348" y="196"/>
                        <a:pt x="348" y="197"/>
                      </a:cubicBezTo>
                      <a:cubicBezTo>
                        <a:pt x="347" y="198"/>
                        <a:pt x="347" y="198"/>
                        <a:pt x="346" y="199"/>
                      </a:cubicBezTo>
                      <a:cubicBezTo>
                        <a:pt x="345" y="200"/>
                        <a:pt x="345" y="201"/>
                        <a:pt x="344" y="202"/>
                      </a:cubicBezTo>
                      <a:lnTo>
                        <a:pt x="342" y="204"/>
                      </a:lnTo>
                      <a:cubicBezTo>
                        <a:pt x="341" y="205"/>
                        <a:pt x="340" y="206"/>
                        <a:pt x="338" y="208"/>
                      </a:cubicBezTo>
                      <a:lnTo>
                        <a:pt x="336" y="209"/>
                      </a:lnTo>
                      <a:cubicBezTo>
                        <a:pt x="335" y="210"/>
                        <a:pt x="333" y="212"/>
                        <a:pt x="331" y="213"/>
                      </a:cubicBezTo>
                      <a:lnTo>
                        <a:pt x="330" y="214"/>
                      </a:lnTo>
                      <a:cubicBezTo>
                        <a:pt x="328" y="215"/>
                        <a:pt x="325" y="217"/>
                        <a:pt x="323" y="218"/>
                      </a:cubicBezTo>
                      <a:lnTo>
                        <a:pt x="322" y="218"/>
                      </a:lnTo>
                      <a:cubicBezTo>
                        <a:pt x="319" y="220"/>
                        <a:pt x="317" y="221"/>
                        <a:pt x="313" y="223"/>
                      </a:cubicBezTo>
                      <a:cubicBezTo>
                        <a:pt x="296" y="231"/>
                        <a:pt x="275" y="237"/>
                        <a:pt x="252" y="241"/>
                      </a:cubicBezTo>
                      <a:lnTo>
                        <a:pt x="251" y="241"/>
                      </a:lnTo>
                      <a:cubicBezTo>
                        <a:pt x="247" y="242"/>
                        <a:pt x="242" y="243"/>
                        <a:pt x="237" y="243"/>
                      </a:cubicBezTo>
                      <a:cubicBezTo>
                        <a:pt x="236" y="243"/>
                        <a:pt x="235" y="243"/>
                        <a:pt x="234" y="244"/>
                      </a:cubicBezTo>
                      <a:cubicBezTo>
                        <a:pt x="230" y="244"/>
                        <a:pt x="225" y="245"/>
                        <a:pt x="221" y="245"/>
                      </a:cubicBezTo>
                      <a:cubicBezTo>
                        <a:pt x="219" y="245"/>
                        <a:pt x="217" y="245"/>
                        <a:pt x="216" y="245"/>
                      </a:cubicBezTo>
                      <a:lnTo>
                        <a:pt x="214" y="245"/>
                      </a:lnTo>
                      <a:cubicBezTo>
                        <a:pt x="211" y="246"/>
                        <a:pt x="207" y="246"/>
                        <a:pt x="204" y="246"/>
                      </a:cubicBezTo>
                      <a:cubicBezTo>
                        <a:pt x="192" y="246"/>
                        <a:pt x="180" y="246"/>
                        <a:pt x="169" y="246"/>
                      </a:cubicBezTo>
                      <a:cubicBezTo>
                        <a:pt x="166" y="246"/>
                        <a:pt x="164" y="246"/>
                        <a:pt x="162" y="246"/>
                      </a:cubicBezTo>
                      <a:lnTo>
                        <a:pt x="152" y="245"/>
                      </a:lnTo>
                      <a:cubicBezTo>
                        <a:pt x="147" y="245"/>
                        <a:pt x="143" y="244"/>
                        <a:pt x="139" y="244"/>
                      </a:cubicBezTo>
                      <a:lnTo>
                        <a:pt x="136" y="243"/>
                      </a:lnTo>
                      <a:cubicBezTo>
                        <a:pt x="131" y="243"/>
                        <a:pt x="126" y="242"/>
                        <a:pt x="122" y="241"/>
                      </a:cubicBezTo>
                      <a:lnTo>
                        <a:pt x="121" y="241"/>
                      </a:lnTo>
                      <a:cubicBezTo>
                        <a:pt x="98" y="237"/>
                        <a:pt x="76" y="231"/>
                        <a:pt x="59" y="223"/>
                      </a:cubicBezTo>
                      <a:cubicBezTo>
                        <a:pt x="56" y="221"/>
                        <a:pt x="53" y="220"/>
                        <a:pt x="51" y="219"/>
                      </a:cubicBezTo>
                      <a:cubicBezTo>
                        <a:pt x="50" y="218"/>
                        <a:pt x="50" y="218"/>
                        <a:pt x="50" y="218"/>
                      </a:cubicBezTo>
                      <a:cubicBezTo>
                        <a:pt x="47" y="217"/>
                        <a:pt x="45" y="215"/>
                        <a:pt x="43" y="214"/>
                      </a:cubicBezTo>
                      <a:lnTo>
                        <a:pt x="41" y="213"/>
                      </a:lnTo>
                      <a:cubicBezTo>
                        <a:pt x="40" y="212"/>
                        <a:pt x="38" y="210"/>
                        <a:pt x="36" y="209"/>
                      </a:cubicBezTo>
                      <a:cubicBezTo>
                        <a:pt x="36" y="209"/>
                        <a:pt x="35" y="208"/>
                        <a:pt x="35" y="208"/>
                      </a:cubicBezTo>
                      <a:cubicBezTo>
                        <a:pt x="33" y="206"/>
                        <a:pt x="32" y="205"/>
                        <a:pt x="31" y="204"/>
                      </a:cubicBezTo>
                      <a:cubicBezTo>
                        <a:pt x="30" y="204"/>
                        <a:pt x="30" y="203"/>
                        <a:pt x="29" y="202"/>
                      </a:cubicBezTo>
                      <a:cubicBezTo>
                        <a:pt x="28" y="201"/>
                        <a:pt x="27" y="200"/>
                        <a:pt x="27" y="199"/>
                      </a:cubicBezTo>
                      <a:cubicBezTo>
                        <a:pt x="26" y="198"/>
                        <a:pt x="26" y="198"/>
                        <a:pt x="25" y="197"/>
                      </a:cubicBezTo>
                      <a:cubicBezTo>
                        <a:pt x="25" y="196"/>
                        <a:pt x="24" y="195"/>
                        <a:pt x="24" y="194"/>
                      </a:cubicBezTo>
                      <a:cubicBezTo>
                        <a:pt x="23" y="193"/>
                        <a:pt x="23" y="193"/>
                        <a:pt x="23" y="192"/>
                      </a:cubicBezTo>
                      <a:cubicBezTo>
                        <a:pt x="22" y="191"/>
                        <a:pt x="22" y="190"/>
                        <a:pt x="22" y="189"/>
                      </a:cubicBezTo>
                      <a:cubicBezTo>
                        <a:pt x="22" y="188"/>
                        <a:pt x="22" y="187"/>
                        <a:pt x="22" y="186"/>
                      </a:cubicBezTo>
                      <a:lnTo>
                        <a:pt x="22" y="124"/>
                      </a:lnTo>
                      <a:lnTo>
                        <a:pt x="22" y="124"/>
                      </a:lnTo>
                      <a:close/>
                      <a:moveTo>
                        <a:pt x="371" y="74"/>
                      </a:moveTo>
                      <a:lnTo>
                        <a:pt x="371" y="74"/>
                      </a:lnTo>
                      <a:cubicBezTo>
                        <a:pt x="359" y="23"/>
                        <a:pt x="267" y="0"/>
                        <a:pt x="186" y="0"/>
                      </a:cubicBezTo>
                      <a:cubicBezTo>
                        <a:pt x="106" y="0"/>
                        <a:pt x="13" y="23"/>
                        <a:pt x="2" y="74"/>
                      </a:cubicBezTo>
                      <a:cubicBezTo>
                        <a:pt x="1" y="76"/>
                        <a:pt x="0" y="78"/>
                        <a:pt x="0" y="80"/>
                      </a:cubicBezTo>
                      <a:lnTo>
                        <a:pt x="0" y="394"/>
                      </a:lnTo>
                      <a:cubicBezTo>
                        <a:pt x="0" y="396"/>
                        <a:pt x="1" y="398"/>
                        <a:pt x="1" y="399"/>
                      </a:cubicBezTo>
                      <a:cubicBezTo>
                        <a:pt x="10" y="442"/>
                        <a:pt x="88" y="474"/>
                        <a:pt x="186" y="474"/>
                      </a:cubicBezTo>
                      <a:cubicBezTo>
                        <a:pt x="284" y="474"/>
                        <a:pt x="362" y="443"/>
                        <a:pt x="371" y="399"/>
                      </a:cubicBezTo>
                      <a:cubicBezTo>
                        <a:pt x="372" y="398"/>
                        <a:pt x="372" y="396"/>
                        <a:pt x="372" y="394"/>
                      </a:cubicBezTo>
                      <a:lnTo>
                        <a:pt x="372" y="80"/>
                      </a:lnTo>
                      <a:cubicBezTo>
                        <a:pt x="372" y="78"/>
                        <a:pt x="372" y="76"/>
                        <a:pt x="371" y="74"/>
                      </a:cubicBezTo>
                      <a:close/>
                    </a:path>
                  </a:pathLst>
                </a:custGeom>
                <a:solidFill>
                  <a:srgbClr val="012169"/>
                </a:solidFill>
                <a:ln w="0">
                  <a:solidFill>
                    <a:srgbClr val="01216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mc:AlternateContent xmlns:mc="http://schemas.openxmlformats.org/markup-compatibility/2006" xmlns:p14="http://schemas.microsoft.com/office/powerpoint/2010/main">
              <mc:Choice Requires="p14">
                <p:contentPart p14:bwMode="auto" r:id="rId2">
                  <p14:nvContentPartPr>
                    <p14:cNvPr id="38" name="Ink 37">
                      <a:extLst>
                        <a:ext uri="{FF2B5EF4-FFF2-40B4-BE49-F238E27FC236}">
                          <a16:creationId xmlns:a16="http://schemas.microsoft.com/office/drawing/2014/main" id="{730BF722-E8B3-4BEC-D909-AEDCE2C9F917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0034444" y="4162579"/>
                    <a:ext cx="347" cy="360"/>
                  </p14:xfrm>
                </p:contentPart>
              </mc:Choice>
              <mc:Fallback xmlns="">
                <p:pic>
                  <p:nvPicPr>
                    <p:cNvPr id="238" name="Ink 237"/>
                    <p:cNvPicPr/>
                    <p:nvPr/>
                  </p:nvPicPr>
                  <p:blipFill>
                    <a:blip r:embed="rId11"/>
                    <a:stretch>
                      <a:fillRect/>
                    </a:stretch>
                  </p:blipFill>
                  <p:spPr>
                    <a:xfrm>
                      <a:off x="10028198" y="4156099"/>
                      <a:ext cx="12839" cy="133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</p:grpSp>
        <p:sp>
          <p:nvSpPr>
            <p:cNvPr id="27" name="Freeform 683">
              <a:extLst>
                <a:ext uri="{FF2B5EF4-FFF2-40B4-BE49-F238E27FC236}">
                  <a16:creationId xmlns:a16="http://schemas.microsoft.com/office/drawing/2014/main" id="{A3CB5676-D8FF-D808-E395-46AB1F689C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256" y="1170650"/>
              <a:ext cx="236492" cy="218161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89219FEA-C4CC-5A2C-EE14-96B03E57E76A}"/>
              </a:ext>
            </a:extLst>
          </p:cNvPr>
          <p:cNvSpPr/>
          <p:nvPr/>
        </p:nvSpPr>
        <p:spPr>
          <a:xfrm>
            <a:off x="1538226" y="4813062"/>
            <a:ext cx="2160000" cy="444267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Napojené subjekty</a:t>
            </a: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8D9F4AF7-8ABC-EF17-3458-C52623980E54}"/>
              </a:ext>
            </a:extLst>
          </p:cNvPr>
          <p:cNvGrpSpPr/>
          <p:nvPr/>
        </p:nvGrpSpPr>
        <p:grpSpPr>
          <a:xfrm>
            <a:off x="568882" y="4715280"/>
            <a:ext cx="791308" cy="604303"/>
            <a:chOff x="3764270" y="4142744"/>
            <a:chExt cx="791308" cy="604303"/>
          </a:xfrm>
          <a:solidFill>
            <a:srgbClr val="012169"/>
          </a:solidFill>
        </p:grpSpPr>
        <p:grpSp>
          <p:nvGrpSpPr>
            <p:cNvPr id="118" name="Group 117">
              <a:extLst>
                <a:ext uri="{FF2B5EF4-FFF2-40B4-BE49-F238E27FC236}">
                  <a16:creationId xmlns:a16="http://schemas.microsoft.com/office/drawing/2014/main" id="{059C3BA2-6588-1C33-24AF-72FEF07F0186}"/>
                </a:ext>
              </a:extLst>
            </p:cNvPr>
            <p:cNvGrpSpPr/>
            <p:nvPr/>
          </p:nvGrpSpPr>
          <p:grpSpPr>
            <a:xfrm>
              <a:off x="4055241" y="4383721"/>
              <a:ext cx="324000" cy="360000"/>
              <a:chOff x="4494098" y="6217765"/>
              <a:chExt cx="549861" cy="682181"/>
            </a:xfrm>
            <a:grpFill/>
          </p:grpSpPr>
          <p:grpSp>
            <p:nvGrpSpPr>
              <p:cNvPr id="122" name="Group 210">
                <a:extLst>
                  <a:ext uri="{FF2B5EF4-FFF2-40B4-BE49-F238E27FC236}">
                    <a16:creationId xmlns:a16="http://schemas.microsoft.com/office/drawing/2014/main" id="{5CC0347D-E6F0-2DA4-3F32-E5E7C1E6E46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494098" y="6575946"/>
                <a:ext cx="379722" cy="324000"/>
                <a:chOff x="2004" y="804"/>
                <a:chExt cx="184" cy="157"/>
              </a:xfrm>
              <a:grpFill/>
            </p:grpSpPr>
            <p:sp>
              <p:nvSpPr>
                <p:cNvPr id="124" name="Freeform 212">
                  <a:extLst>
                    <a:ext uri="{FF2B5EF4-FFF2-40B4-BE49-F238E27FC236}">
                      <a16:creationId xmlns:a16="http://schemas.microsoft.com/office/drawing/2014/main" id="{12631C31-1917-D1BF-F913-449519C8DD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04" y="890"/>
                  <a:ext cx="184" cy="71"/>
                </a:xfrm>
                <a:custGeom>
                  <a:avLst/>
                  <a:gdLst>
                    <a:gd name="T0" fmla="*/ 245 w 277"/>
                    <a:gd name="T1" fmla="*/ 107 h 107"/>
                    <a:gd name="T2" fmla="*/ 32 w 277"/>
                    <a:gd name="T3" fmla="*/ 107 h 107"/>
                    <a:gd name="T4" fmla="*/ 0 w 277"/>
                    <a:gd name="T5" fmla="*/ 75 h 107"/>
                    <a:gd name="T6" fmla="*/ 0 w 277"/>
                    <a:gd name="T7" fmla="*/ 33 h 107"/>
                    <a:gd name="T8" fmla="*/ 32 w 277"/>
                    <a:gd name="T9" fmla="*/ 0 h 107"/>
                    <a:gd name="T10" fmla="*/ 245 w 277"/>
                    <a:gd name="T11" fmla="*/ 0 h 107"/>
                    <a:gd name="T12" fmla="*/ 277 w 277"/>
                    <a:gd name="T13" fmla="*/ 33 h 107"/>
                    <a:gd name="T14" fmla="*/ 277 w 277"/>
                    <a:gd name="T15" fmla="*/ 75 h 107"/>
                    <a:gd name="T16" fmla="*/ 245 w 277"/>
                    <a:gd name="T17" fmla="*/ 107 h 107"/>
                    <a:gd name="T18" fmla="*/ 32 w 277"/>
                    <a:gd name="T19" fmla="*/ 22 h 107"/>
                    <a:gd name="T20" fmla="*/ 21 w 277"/>
                    <a:gd name="T21" fmla="*/ 33 h 107"/>
                    <a:gd name="T22" fmla="*/ 21 w 277"/>
                    <a:gd name="T23" fmla="*/ 75 h 107"/>
                    <a:gd name="T24" fmla="*/ 32 w 277"/>
                    <a:gd name="T25" fmla="*/ 86 h 107"/>
                    <a:gd name="T26" fmla="*/ 245 w 277"/>
                    <a:gd name="T27" fmla="*/ 86 h 107"/>
                    <a:gd name="T28" fmla="*/ 256 w 277"/>
                    <a:gd name="T29" fmla="*/ 75 h 107"/>
                    <a:gd name="T30" fmla="*/ 256 w 277"/>
                    <a:gd name="T31" fmla="*/ 33 h 107"/>
                    <a:gd name="T32" fmla="*/ 245 w 277"/>
                    <a:gd name="T33" fmla="*/ 22 h 107"/>
                    <a:gd name="T34" fmla="*/ 32 w 277"/>
                    <a:gd name="T35" fmla="*/ 22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77" h="107">
                      <a:moveTo>
                        <a:pt x="245" y="107"/>
                      </a:moveTo>
                      <a:cubicBezTo>
                        <a:pt x="32" y="107"/>
                        <a:pt x="32" y="107"/>
                        <a:pt x="32" y="107"/>
                      </a:cubicBezTo>
                      <a:cubicBezTo>
                        <a:pt x="14" y="107"/>
                        <a:pt x="0" y="93"/>
                        <a:pt x="0" y="75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4" y="0"/>
                        <a:pt x="32" y="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263" y="0"/>
                        <a:pt x="277" y="15"/>
                        <a:pt x="277" y="33"/>
                      </a:cubicBezTo>
                      <a:cubicBezTo>
                        <a:pt x="277" y="75"/>
                        <a:pt x="277" y="75"/>
                        <a:pt x="277" y="75"/>
                      </a:cubicBezTo>
                      <a:cubicBezTo>
                        <a:pt x="277" y="93"/>
                        <a:pt x="263" y="107"/>
                        <a:pt x="245" y="107"/>
                      </a:cubicBezTo>
                      <a:close/>
                      <a:moveTo>
                        <a:pt x="32" y="22"/>
                      </a:moveTo>
                      <a:cubicBezTo>
                        <a:pt x="26" y="22"/>
                        <a:pt x="21" y="27"/>
                        <a:pt x="21" y="33"/>
                      </a:cubicBezTo>
                      <a:cubicBezTo>
                        <a:pt x="21" y="75"/>
                        <a:pt x="21" y="75"/>
                        <a:pt x="21" y="75"/>
                      </a:cubicBezTo>
                      <a:cubicBezTo>
                        <a:pt x="21" y="81"/>
                        <a:pt x="26" y="86"/>
                        <a:pt x="32" y="86"/>
                      </a:cubicBezTo>
                      <a:cubicBezTo>
                        <a:pt x="245" y="86"/>
                        <a:pt x="245" y="86"/>
                        <a:pt x="245" y="86"/>
                      </a:cubicBezTo>
                      <a:cubicBezTo>
                        <a:pt x="251" y="86"/>
                        <a:pt x="256" y="81"/>
                        <a:pt x="256" y="75"/>
                      </a:cubicBezTo>
                      <a:cubicBezTo>
                        <a:pt x="256" y="33"/>
                        <a:pt x="256" y="33"/>
                        <a:pt x="256" y="33"/>
                      </a:cubicBezTo>
                      <a:cubicBezTo>
                        <a:pt x="256" y="27"/>
                        <a:pt x="251" y="22"/>
                        <a:pt x="245" y="22"/>
                      </a:cubicBezTo>
                      <a:lnTo>
                        <a:pt x="32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5" name="Freeform 213">
                  <a:extLst>
                    <a:ext uri="{FF2B5EF4-FFF2-40B4-BE49-F238E27FC236}">
                      <a16:creationId xmlns:a16="http://schemas.microsoft.com/office/drawing/2014/main" id="{61A931ED-C6EA-C063-C032-260EEFE489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4" y="804"/>
                  <a:ext cx="43" cy="114"/>
                </a:xfrm>
                <a:custGeom>
                  <a:avLst/>
                  <a:gdLst>
                    <a:gd name="T0" fmla="*/ 11 w 65"/>
                    <a:gd name="T1" fmla="*/ 172 h 172"/>
                    <a:gd name="T2" fmla="*/ 0 w 65"/>
                    <a:gd name="T3" fmla="*/ 161 h 172"/>
                    <a:gd name="T4" fmla="*/ 0 w 65"/>
                    <a:gd name="T5" fmla="*/ 140 h 172"/>
                    <a:gd name="T6" fmla="*/ 1 w 65"/>
                    <a:gd name="T7" fmla="*/ 137 h 172"/>
                    <a:gd name="T8" fmla="*/ 43 w 65"/>
                    <a:gd name="T9" fmla="*/ 9 h 172"/>
                    <a:gd name="T10" fmla="*/ 57 w 65"/>
                    <a:gd name="T11" fmla="*/ 2 h 172"/>
                    <a:gd name="T12" fmla="*/ 63 w 65"/>
                    <a:gd name="T13" fmla="*/ 15 h 172"/>
                    <a:gd name="T14" fmla="*/ 21 w 65"/>
                    <a:gd name="T15" fmla="*/ 142 h 172"/>
                    <a:gd name="T16" fmla="*/ 21 w 65"/>
                    <a:gd name="T17" fmla="*/ 161 h 172"/>
                    <a:gd name="T18" fmla="*/ 11 w 65"/>
                    <a:gd name="T19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172">
                      <a:moveTo>
                        <a:pt x="11" y="172"/>
                      </a:moveTo>
                      <a:cubicBezTo>
                        <a:pt x="5" y="172"/>
                        <a:pt x="0" y="167"/>
                        <a:pt x="0" y="161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39"/>
                        <a:pt x="0" y="138"/>
                        <a:pt x="1" y="137"/>
                      </a:cubicBezTo>
                      <a:cubicBezTo>
                        <a:pt x="43" y="9"/>
                        <a:pt x="43" y="9"/>
                        <a:pt x="43" y="9"/>
                      </a:cubicBezTo>
                      <a:cubicBezTo>
                        <a:pt x="45" y="3"/>
                        <a:pt x="51" y="0"/>
                        <a:pt x="57" y="2"/>
                      </a:cubicBezTo>
                      <a:cubicBezTo>
                        <a:pt x="62" y="4"/>
                        <a:pt x="65" y="10"/>
                        <a:pt x="63" y="15"/>
                      </a:cubicBezTo>
                      <a:cubicBezTo>
                        <a:pt x="21" y="142"/>
                        <a:pt x="21" y="142"/>
                        <a:pt x="21" y="142"/>
                      </a:cubicBezTo>
                      <a:cubicBezTo>
                        <a:pt x="21" y="161"/>
                        <a:pt x="21" y="161"/>
                        <a:pt x="21" y="161"/>
                      </a:cubicBezTo>
                      <a:cubicBezTo>
                        <a:pt x="21" y="167"/>
                        <a:pt x="17" y="172"/>
                        <a:pt x="11" y="1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6" name="Freeform 214">
                  <a:extLst>
                    <a:ext uri="{FF2B5EF4-FFF2-40B4-BE49-F238E27FC236}">
                      <a16:creationId xmlns:a16="http://schemas.microsoft.com/office/drawing/2014/main" id="{9A7CEFB6-357C-D727-355A-F4012D5D9F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5" y="804"/>
                  <a:ext cx="43" cy="114"/>
                </a:xfrm>
                <a:custGeom>
                  <a:avLst/>
                  <a:gdLst>
                    <a:gd name="T0" fmla="*/ 55 w 65"/>
                    <a:gd name="T1" fmla="*/ 172 h 172"/>
                    <a:gd name="T2" fmla="*/ 44 w 65"/>
                    <a:gd name="T3" fmla="*/ 161 h 172"/>
                    <a:gd name="T4" fmla="*/ 44 w 65"/>
                    <a:gd name="T5" fmla="*/ 142 h 172"/>
                    <a:gd name="T6" fmla="*/ 2 w 65"/>
                    <a:gd name="T7" fmla="*/ 15 h 172"/>
                    <a:gd name="T8" fmla="*/ 9 w 65"/>
                    <a:gd name="T9" fmla="*/ 2 h 172"/>
                    <a:gd name="T10" fmla="*/ 22 w 65"/>
                    <a:gd name="T11" fmla="*/ 9 h 172"/>
                    <a:gd name="T12" fmla="*/ 65 w 65"/>
                    <a:gd name="T13" fmla="*/ 137 h 172"/>
                    <a:gd name="T14" fmla="*/ 65 w 65"/>
                    <a:gd name="T15" fmla="*/ 140 h 172"/>
                    <a:gd name="T16" fmla="*/ 65 w 65"/>
                    <a:gd name="T17" fmla="*/ 161 h 172"/>
                    <a:gd name="T18" fmla="*/ 55 w 65"/>
                    <a:gd name="T19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172">
                      <a:moveTo>
                        <a:pt x="55" y="172"/>
                      </a:moveTo>
                      <a:cubicBezTo>
                        <a:pt x="49" y="172"/>
                        <a:pt x="44" y="167"/>
                        <a:pt x="44" y="161"/>
                      </a:cubicBezTo>
                      <a:cubicBezTo>
                        <a:pt x="44" y="142"/>
                        <a:pt x="44" y="142"/>
                        <a:pt x="44" y="142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0" y="10"/>
                        <a:pt x="3" y="4"/>
                        <a:pt x="9" y="2"/>
                      </a:cubicBezTo>
                      <a:cubicBezTo>
                        <a:pt x="14" y="0"/>
                        <a:pt x="20" y="3"/>
                        <a:pt x="22" y="9"/>
                      </a:cubicBezTo>
                      <a:cubicBezTo>
                        <a:pt x="65" y="137"/>
                        <a:pt x="65" y="137"/>
                        <a:pt x="65" y="137"/>
                      </a:cubicBezTo>
                      <a:cubicBezTo>
                        <a:pt x="65" y="138"/>
                        <a:pt x="65" y="139"/>
                        <a:pt x="65" y="140"/>
                      </a:cubicBezTo>
                      <a:cubicBezTo>
                        <a:pt x="65" y="161"/>
                        <a:pt x="65" y="161"/>
                        <a:pt x="65" y="161"/>
                      </a:cubicBezTo>
                      <a:cubicBezTo>
                        <a:pt x="65" y="167"/>
                        <a:pt x="61" y="172"/>
                        <a:pt x="55" y="1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7" name="Freeform 215">
                  <a:extLst>
                    <a:ext uri="{FF2B5EF4-FFF2-40B4-BE49-F238E27FC236}">
                      <a16:creationId xmlns:a16="http://schemas.microsoft.com/office/drawing/2014/main" id="{CC8B93C6-D0D8-3303-65C9-6DC48BEF6B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3" y="805"/>
                  <a:ext cx="127" cy="14"/>
                </a:xfrm>
                <a:custGeom>
                  <a:avLst/>
                  <a:gdLst>
                    <a:gd name="T0" fmla="*/ 181 w 192"/>
                    <a:gd name="T1" fmla="*/ 22 h 22"/>
                    <a:gd name="T2" fmla="*/ 10 w 192"/>
                    <a:gd name="T3" fmla="*/ 22 h 22"/>
                    <a:gd name="T4" fmla="*/ 0 w 192"/>
                    <a:gd name="T5" fmla="*/ 11 h 22"/>
                    <a:gd name="T6" fmla="*/ 10 w 192"/>
                    <a:gd name="T7" fmla="*/ 0 h 22"/>
                    <a:gd name="T8" fmla="*/ 181 w 192"/>
                    <a:gd name="T9" fmla="*/ 0 h 22"/>
                    <a:gd name="T10" fmla="*/ 192 w 192"/>
                    <a:gd name="T11" fmla="*/ 11 h 22"/>
                    <a:gd name="T12" fmla="*/ 181 w 192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2" h="22">
                      <a:moveTo>
                        <a:pt x="181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4" y="22"/>
                        <a:pt x="0" y="17"/>
                        <a:pt x="0" y="11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187" y="0"/>
                        <a:pt x="192" y="5"/>
                        <a:pt x="192" y="11"/>
                      </a:cubicBezTo>
                      <a:cubicBezTo>
                        <a:pt x="192" y="17"/>
                        <a:pt x="187" y="22"/>
                        <a:pt x="18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8" name="Freeform 216">
                  <a:extLst>
                    <a:ext uri="{FF2B5EF4-FFF2-40B4-BE49-F238E27FC236}">
                      <a16:creationId xmlns:a16="http://schemas.microsoft.com/office/drawing/2014/main" id="{B247F8C0-3706-5968-730D-D197C75445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6" y="918"/>
                  <a:ext cx="14" cy="14"/>
                </a:xfrm>
                <a:custGeom>
                  <a:avLst/>
                  <a:gdLst>
                    <a:gd name="T0" fmla="*/ 11 w 22"/>
                    <a:gd name="T1" fmla="*/ 22 h 22"/>
                    <a:gd name="T2" fmla="*/ 3 w 22"/>
                    <a:gd name="T3" fmla="*/ 19 h 22"/>
                    <a:gd name="T4" fmla="*/ 1 w 22"/>
                    <a:gd name="T5" fmla="*/ 16 h 22"/>
                    <a:gd name="T6" fmla="*/ 0 w 22"/>
                    <a:gd name="T7" fmla="*/ 12 h 22"/>
                    <a:gd name="T8" fmla="*/ 1 w 22"/>
                    <a:gd name="T9" fmla="*/ 8 h 22"/>
                    <a:gd name="T10" fmla="*/ 3 w 22"/>
                    <a:gd name="T11" fmla="*/ 4 h 22"/>
                    <a:gd name="T12" fmla="*/ 5 w 22"/>
                    <a:gd name="T13" fmla="*/ 3 h 22"/>
                    <a:gd name="T14" fmla="*/ 7 w 22"/>
                    <a:gd name="T15" fmla="*/ 2 h 22"/>
                    <a:gd name="T16" fmla="*/ 9 w 22"/>
                    <a:gd name="T17" fmla="*/ 1 h 22"/>
                    <a:gd name="T18" fmla="*/ 19 w 22"/>
                    <a:gd name="T19" fmla="*/ 4 h 22"/>
                    <a:gd name="T20" fmla="*/ 21 w 22"/>
                    <a:gd name="T21" fmla="*/ 8 h 22"/>
                    <a:gd name="T22" fmla="*/ 22 w 22"/>
                    <a:gd name="T23" fmla="*/ 12 h 22"/>
                    <a:gd name="T24" fmla="*/ 21 w 22"/>
                    <a:gd name="T25" fmla="*/ 16 h 22"/>
                    <a:gd name="T26" fmla="*/ 19 w 22"/>
                    <a:gd name="T27" fmla="*/ 19 h 22"/>
                    <a:gd name="T28" fmla="*/ 15 w 22"/>
                    <a:gd name="T29" fmla="*/ 21 h 22"/>
                    <a:gd name="T30" fmla="*/ 11 w 22"/>
                    <a:gd name="T31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22">
                      <a:moveTo>
                        <a:pt x="11" y="22"/>
                      </a:moveTo>
                      <a:cubicBezTo>
                        <a:pt x="8" y="22"/>
                        <a:pt x="5" y="21"/>
                        <a:pt x="3" y="19"/>
                      </a:cubicBezTo>
                      <a:cubicBezTo>
                        <a:pt x="2" y="18"/>
                        <a:pt x="2" y="17"/>
                        <a:pt x="1" y="16"/>
                      </a:cubicBezTo>
                      <a:cubicBezTo>
                        <a:pt x="1" y="14"/>
                        <a:pt x="0" y="13"/>
                        <a:pt x="0" y="12"/>
                      </a:cubicBezTo>
                      <a:cubicBezTo>
                        <a:pt x="0" y="10"/>
                        <a:pt x="1" y="9"/>
                        <a:pt x="1" y="8"/>
                      </a:cubicBezTo>
                      <a:cubicBezTo>
                        <a:pt x="2" y="6"/>
                        <a:pt x="2" y="5"/>
                        <a:pt x="3" y="4"/>
                      </a:cubicBezTo>
                      <a:cubicBezTo>
                        <a:pt x="4" y="4"/>
                        <a:pt x="4" y="3"/>
                        <a:pt x="5" y="3"/>
                      </a:cubicBezTo>
                      <a:cubicBezTo>
                        <a:pt x="6" y="2"/>
                        <a:pt x="6" y="2"/>
                        <a:pt x="7" y="2"/>
                      </a:cubicBezTo>
                      <a:cubicBezTo>
                        <a:pt x="8" y="2"/>
                        <a:pt x="8" y="1"/>
                        <a:pt x="9" y="1"/>
                      </a:cubicBezTo>
                      <a:cubicBezTo>
                        <a:pt x="12" y="0"/>
                        <a:pt x="16" y="2"/>
                        <a:pt x="19" y="4"/>
                      </a:cubicBezTo>
                      <a:cubicBezTo>
                        <a:pt x="20" y="5"/>
                        <a:pt x="20" y="6"/>
                        <a:pt x="21" y="8"/>
                      </a:cubicBezTo>
                      <a:cubicBezTo>
                        <a:pt x="21" y="9"/>
                        <a:pt x="22" y="10"/>
                        <a:pt x="22" y="12"/>
                      </a:cubicBezTo>
                      <a:cubicBezTo>
                        <a:pt x="22" y="13"/>
                        <a:pt x="21" y="14"/>
                        <a:pt x="21" y="16"/>
                      </a:cubicBezTo>
                      <a:cubicBezTo>
                        <a:pt x="20" y="17"/>
                        <a:pt x="20" y="18"/>
                        <a:pt x="19" y="19"/>
                      </a:cubicBezTo>
                      <a:cubicBezTo>
                        <a:pt x="18" y="20"/>
                        <a:pt x="16" y="21"/>
                        <a:pt x="15" y="21"/>
                      </a:cubicBezTo>
                      <a:cubicBezTo>
                        <a:pt x="14" y="22"/>
                        <a:pt x="12" y="22"/>
                        <a:pt x="1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29" name="Freeform 217">
                  <a:extLst>
                    <a:ext uri="{FF2B5EF4-FFF2-40B4-BE49-F238E27FC236}">
                      <a16:creationId xmlns:a16="http://schemas.microsoft.com/office/drawing/2014/main" id="{35781689-F12D-7D6B-836C-8F6D06CBF9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8" y="918"/>
                  <a:ext cx="14" cy="14"/>
                </a:xfrm>
                <a:custGeom>
                  <a:avLst/>
                  <a:gdLst>
                    <a:gd name="T0" fmla="*/ 10 w 21"/>
                    <a:gd name="T1" fmla="*/ 22 h 22"/>
                    <a:gd name="T2" fmla="*/ 6 w 21"/>
                    <a:gd name="T3" fmla="*/ 21 h 22"/>
                    <a:gd name="T4" fmla="*/ 3 w 21"/>
                    <a:gd name="T5" fmla="*/ 19 h 22"/>
                    <a:gd name="T6" fmla="*/ 1 w 21"/>
                    <a:gd name="T7" fmla="*/ 16 h 22"/>
                    <a:gd name="T8" fmla="*/ 0 w 21"/>
                    <a:gd name="T9" fmla="*/ 12 h 22"/>
                    <a:gd name="T10" fmla="*/ 1 w 21"/>
                    <a:gd name="T11" fmla="*/ 8 h 22"/>
                    <a:gd name="T12" fmla="*/ 3 w 21"/>
                    <a:gd name="T13" fmla="*/ 4 h 22"/>
                    <a:gd name="T14" fmla="*/ 12 w 21"/>
                    <a:gd name="T15" fmla="*/ 1 h 22"/>
                    <a:gd name="T16" fmla="*/ 14 w 21"/>
                    <a:gd name="T17" fmla="*/ 2 h 22"/>
                    <a:gd name="T18" fmla="*/ 16 w 21"/>
                    <a:gd name="T19" fmla="*/ 3 h 22"/>
                    <a:gd name="T20" fmla="*/ 18 w 21"/>
                    <a:gd name="T21" fmla="*/ 4 h 22"/>
                    <a:gd name="T22" fmla="*/ 20 w 21"/>
                    <a:gd name="T23" fmla="*/ 8 h 22"/>
                    <a:gd name="T24" fmla="*/ 21 w 21"/>
                    <a:gd name="T25" fmla="*/ 12 h 22"/>
                    <a:gd name="T26" fmla="*/ 20 w 21"/>
                    <a:gd name="T27" fmla="*/ 16 h 22"/>
                    <a:gd name="T28" fmla="*/ 18 w 21"/>
                    <a:gd name="T29" fmla="*/ 19 h 22"/>
                    <a:gd name="T30" fmla="*/ 10 w 21"/>
                    <a:gd name="T31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22">
                      <a:moveTo>
                        <a:pt x="10" y="22"/>
                      </a:moveTo>
                      <a:cubicBezTo>
                        <a:pt x="9" y="22"/>
                        <a:pt x="8" y="22"/>
                        <a:pt x="6" y="21"/>
                      </a:cubicBezTo>
                      <a:cubicBezTo>
                        <a:pt x="5" y="21"/>
                        <a:pt x="4" y="20"/>
                        <a:pt x="3" y="19"/>
                      </a:cubicBezTo>
                      <a:cubicBezTo>
                        <a:pt x="2" y="18"/>
                        <a:pt x="1" y="17"/>
                        <a:pt x="1" y="16"/>
                      </a:cubicBezTo>
                      <a:cubicBezTo>
                        <a:pt x="0" y="14"/>
                        <a:pt x="0" y="13"/>
                        <a:pt x="0" y="12"/>
                      </a:cubicBezTo>
                      <a:cubicBezTo>
                        <a:pt x="0" y="10"/>
                        <a:pt x="0" y="9"/>
                        <a:pt x="1" y="8"/>
                      </a:cubicBezTo>
                      <a:cubicBezTo>
                        <a:pt x="1" y="6"/>
                        <a:pt x="2" y="5"/>
                        <a:pt x="3" y="4"/>
                      </a:cubicBezTo>
                      <a:cubicBezTo>
                        <a:pt x="5" y="2"/>
                        <a:pt x="9" y="0"/>
                        <a:pt x="12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5" y="2"/>
                        <a:pt x="16" y="2"/>
                        <a:pt x="16" y="3"/>
                      </a:cubicBezTo>
                      <a:cubicBezTo>
                        <a:pt x="17" y="3"/>
                        <a:pt x="17" y="4"/>
                        <a:pt x="18" y="4"/>
                      </a:cubicBezTo>
                      <a:cubicBezTo>
                        <a:pt x="19" y="5"/>
                        <a:pt x="20" y="6"/>
                        <a:pt x="20" y="8"/>
                      </a:cubicBezTo>
                      <a:cubicBezTo>
                        <a:pt x="21" y="9"/>
                        <a:pt x="21" y="10"/>
                        <a:pt x="21" y="12"/>
                      </a:cubicBezTo>
                      <a:cubicBezTo>
                        <a:pt x="21" y="13"/>
                        <a:pt x="21" y="14"/>
                        <a:pt x="20" y="16"/>
                      </a:cubicBezTo>
                      <a:cubicBezTo>
                        <a:pt x="20" y="17"/>
                        <a:pt x="19" y="18"/>
                        <a:pt x="18" y="19"/>
                      </a:cubicBezTo>
                      <a:cubicBezTo>
                        <a:pt x="16" y="21"/>
                        <a:pt x="13" y="22"/>
                        <a:pt x="10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123" name="Freeform 683">
                <a:extLst>
                  <a:ext uri="{FF2B5EF4-FFF2-40B4-BE49-F238E27FC236}">
                    <a16:creationId xmlns:a16="http://schemas.microsoft.com/office/drawing/2014/main" id="{1A898B90-B8AE-82F6-45EF-B3FB59634E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3959" y="6217765"/>
                <a:ext cx="360000" cy="432000"/>
              </a:xfrm>
              <a:custGeom>
                <a:avLst/>
                <a:gdLst>
                  <a:gd name="T0" fmla="*/ 94 w 234"/>
                  <a:gd name="T1" fmla="*/ 170 h 312"/>
                  <a:gd name="T2" fmla="*/ 85 w 234"/>
                  <a:gd name="T3" fmla="*/ 176 h 312"/>
                  <a:gd name="T4" fmla="*/ 80 w 234"/>
                  <a:gd name="T5" fmla="*/ 174 h 312"/>
                  <a:gd name="T6" fmla="*/ 42 w 234"/>
                  <a:gd name="T7" fmla="*/ 110 h 312"/>
                  <a:gd name="T8" fmla="*/ 80 w 234"/>
                  <a:gd name="T9" fmla="*/ 45 h 312"/>
                  <a:gd name="T10" fmla="*/ 94 w 234"/>
                  <a:gd name="T11" fmla="*/ 49 h 312"/>
                  <a:gd name="T12" fmla="*/ 90 w 234"/>
                  <a:gd name="T13" fmla="*/ 63 h 312"/>
                  <a:gd name="T14" fmla="*/ 64 w 234"/>
                  <a:gd name="T15" fmla="*/ 110 h 312"/>
                  <a:gd name="T16" fmla="*/ 90 w 234"/>
                  <a:gd name="T17" fmla="*/ 156 h 312"/>
                  <a:gd name="T18" fmla="*/ 94 w 234"/>
                  <a:gd name="T19" fmla="*/ 170 h 312"/>
                  <a:gd name="T20" fmla="*/ 79 w 234"/>
                  <a:gd name="T21" fmla="*/ 198 h 312"/>
                  <a:gd name="T22" fmla="*/ 21 w 234"/>
                  <a:gd name="T23" fmla="*/ 110 h 312"/>
                  <a:gd name="T24" fmla="*/ 79 w 234"/>
                  <a:gd name="T25" fmla="*/ 22 h 312"/>
                  <a:gd name="T26" fmla="*/ 84 w 234"/>
                  <a:gd name="T27" fmla="*/ 8 h 312"/>
                  <a:gd name="T28" fmla="*/ 70 w 234"/>
                  <a:gd name="T29" fmla="*/ 2 h 312"/>
                  <a:gd name="T30" fmla="*/ 0 w 234"/>
                  <a:gd name="T31" fmla="*/ 110 h 312"/>
                  <a:gd name="T32" fmla="*/ 70 w 234"/>
                  <a:gd name="T33" fmla="*/ 217 h 312"/>
                  <a:gd name="T34" fmla="*/ 74 w 234"/>
                  <a:gd name="T35" fmla="*/ 218 h 312"/>
                  <a:gd name="T36" fmla="*/ 84 w 234"/>
                  <a:gd name="T37" fmla="*/ 212 h 312"/>
                  <a:gd name="T38" fmla="*/ 79 w 234"/>
                  <a:gd name="T39" fmla="*/ 198 h 312"/>
                  <a:gd name="T40" fmla="*/ 128 w 234"/>
                  <a:gd name="T41" fmla="*/ 140 h 312"/>
                  <a:gd name="T42" fmla="*/ 128 w 234"/>
                  <a:gd name="T43" fmla="*/ 302 h 312"/>
                  <a:gd name="T44" fmla="*/ 117 w 234"/>
                  <a:gd name="T45" fmla="*/ 312 h 312"/>
                  <a:gd name="T46" fmla="*/ 106 w 234"/>
                  <a:gd name="T47" fmla="*/ 302 h 312"/>
                  <a:gd name="T48" fmla="*/ 106 w 234"/>
                  <a:gd name="T49" fmla="*/ 140 h 312"/>
                  <a:gd name="T50" fmla="*/ 85 w 234"/>
                  <a:gd name="T51" fmla="*/ 110 h 312"/>
                  <a:gd name="T52" fmla="*/ 117 w 234"/>
                  <a:gd name="T53" fmla="*/ 78 h 312"/>
                  <a:gd name="T54" fmla="*/ 149 w 234"/>
                  <a:gd name="T55" fmla="*/ 110 h 312"/>
                  <a:gd name="T56" fmla="*/ 128 w 234"/>
                  <a:gd name="T57" fmla="*/ 140 h 312"/>
                  <a:gd name="T58" fmla="*/ 106 w 234"/>
                  <a:gd name="T59" fmla="*/ 110 h 312"/>
                  <a:gd name="T60" fmla="*/ 117 w 234"/>
                  <a:gd name="T61" fmla="*/ 120 h 312"/>
                  <a:gd name="T62" fmla="*/ 128 w 234"/>
                  <a:gd name="T63" fmla="*/ 110 h 312"/>
                  <a:gd name="T64" fmla="*/ 117 w 234"/>
                  <a:gd name="T65" fmla="*/ 99 h 312"/>
                  <a:gd name="T66" fmla="*/ 106 w 234"/>
                  <a:gd name="T67" fmla="*/ 110 h 312"/>
                  <a:gd name="T68" fmla="*/ 192 w 234"/>
                  <a:gd name="T69" fmla="*/ 110 h 312"/>
                  <a:gd name="T70" fmla="*/ 154 w 234"/>
                  <a:gd name="T71" fmla="*/ 45 h 312"/>
                  <a:gd name="T72" fmla="*/ 140 w 234"/>
                  <a:gd name="T73" fmla="*/ 49 h 312"/>
                  <a:gd name="T74" fmla="*/ 144 w 234"/>
                  <a:gd name="T75" fmla="*/ 63 h 312"/>
                  <a:gd name="T76" fmla="*/ 170 w 234"/>
                  <a:gd name="T77" fmla="*/ 110 h 312"/>
                  <a:gd name="T78" fmla="*/ 144 w 234"/>
                  <a:gd name="T79" fmla="*/ 156 h 312"/>
                  <a:gd name="T80" fmla="*/ 140 w 234"/>
                  <a:gd name="T81" fmla="*/ 170 h 312"/>
                  <a:gd name="T82" fmla="*/ 149 w 234"/>
                  <a:gd name="T83" fmla="*/ 176 h 312"/>
                  <a:gd name="T84" fmla="*/ 154 w 234"/>
                  <a:gd name="T85" fmla="*/ 174 h 312"/>
                  <a:gd name="T86" fmla="*/ 192 w 234"/>
                  <a:gd name="T87" fmla="*/ 110 h 312"/>
                  <a:gd name="T88" fmla="*/ 164 w 234"/>
                  <a:gd name="T89" fmla="*/ 2 h 312"/>
                  <a:gd name="T90" fmla="*/ 150 w 234"/>
                  <a:gd name="T91" fmla="*/ 8 h 312"/>
                  <a:gd name="T92" fmla="*/ 155 w 234"/>
                  <a:gd name="T93" fmla="*/ 22 h 312"/>
                  <a:gd name="T94" fmla="*/ 213 w 234"/>
                  <a:gd name="T95" fmla="*/ 110 h 312"/>
                  <a:gd name="T96" fmla="*/ 155 w 234"/>
                  <a:gd name="T97" fmla="*/ 198 h 312"/>
                  <a:gd name="T98" fmla="*/ 150 w 234"/>
                  <a:gd name="T99" fmla="*/ 212 h 312"/>
                  <a:gd name="T100" fmla="*/ 160 w 234"/>
                  <a:gd name="T101" fmla="*/ 218 h 312"/>
                  <a:gd name="T102" fmla="*/ 164 w 234"/>
                  <a:gd name="T103" fmla="*/ 217 h 312"/>
                  <a:gd name="T104" fmla="*/ 234 w 234"/>
                  <a:gd name="T105" fmla="*/ 110 h 312"/>
                  <a:gd name="T106" fmla="*/ 164 w 234"/>
                  <a:gd name="T107" fmla="*/ 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4" h="312">
                    <a:moveTo>
                      <a:pt x="94" y="170"/>
                    </a:moveTo>
                    <a:cubicBezTo>
                      <a:pt x="92" y="174"/>
                      <a:pt x="89" y="176"/>
                      <a:pt x="85" y="176"/>
                    </a:cubicBezTo>
                    <a:cubicBezTo>
                      <a:pt x="83" y="176"/>
                      <a:pt x="81" y="175"/>
                      <a:pt x="80" y="174"/>
                    </a:cubicBezTo>
                    <a:cubicBezTo>
                      <a:pt x="57" y="161"/>
                      <a:pt x="42" y="136"/>
                      <a:pt x="42" y="110"/>
                    </a:cubicBezTo>
                    <a:cubicBezTo>
                      <a:pt x="42" y="83"/>
                      <a:pt x="57" y="58"/>
                      <a:pt x="80" y="45"/>
                    </a:cubicBezTo>
                    <a:cubicBezTo>
                      <a:pt x="85" y="42"/>
                      <a:pt x="91" y="44"/>
                      <a:pt x="94" y="49"/>
                    </a:cubicBezTo>
                    <a:cubicBezTo>
                      <a:pt x="97" y="54"/>
                      <a:pt x="95" y="61"/>
                      <a:pt x="90" y="63"/>
                    </a:cubicBezTo>
                    <a:cubicBezTo>
                      <a:pt x="74" y="73"/>
                      <a:pt x="64" y="91"/>
                      <a:pt x="64" y="110"/>
                    </a:cubicBezTo>
                    <a:cubicBezTo>
                      <a:pt x="64" y="129"/>
                      <a:pt x="74" y="146"/>
                      <a:pt x="90" y="156"/>
                    </a:cubicBezTo>
                    <a:cubicBezTo>
                      <a:pt x="95" y="159"/>
                      <a:pt x="97" y="165"/>
                      <a:pt x="94" y="170"/>
                    </a:cubicBezTo>
                    <a:close/>
                    <a:moveTo>
                      <a:pt x="79" y="198"/>
                    </a:moveTo>
                    <a:cubicBezTo>
                      <a:pt x="44" y="182"/>
                      <a:pt x="21" y="148"/>
                      <a:pt x="21" y="110"/>
                    </a:cubicBezTo>
                    <a:cubicBezTo>
                      <a:pt x="21" y="71"/>
                      <a:pt x="44" y="37"/>
                      <a:pt x="79" y="22"/>
                    </a:cubicBezTo>
                    <a:cubicBezTo>
                      <a:pt x="84" y="19"/>
                      <a:pt x="86" y="13"/>
                      <a:pt x="84" y="8"/>
                    </a:cubicBezTo>
                    <a:cubicBezTo>
                      <a:pt x="82" y="2"/>
                      <a:pt x="75" y="0"/>
                      <a:pt x="70" y="2"/>
                    </a:cubicBezTo>
                    <a:cubicBezTo>
                      <a:pt x="27" y="21"/>
                      <a:pt x="0" y="63"/>
                      <a:pt x="0" y="110"/>
                    </a:cubicBezTo>
                    <a:cubicBezTo>
                      <a:pt x="0" y="156"/>
                      <a:pt x="27" y="199"/>
                      <a:pt x="70" y="217"/>
                    </a:cubicBezTo>
                    <a:cubicBezTo>
                      <a:pt x="71" y="218"/>
                      <a:pt x="73" y="218"/>
                      <a:pt x="74" y="218"/>
                    </a:cubicBezTo>
                    <a:cubicBezTo>
                      <a:pt x="78" y="218"/>
                      <a:pt x="82" y="216"/>
                      <a:pt x="84" y="212"/>
                    </a:cubicBezTo>
                    <a:cubicBezTo>
                      <a:pt x="86" y="206"/>
                      <a:pt x="84" y="200"/>
                      <a:pt x="79" y="198"/>
                    </a:cubicBezTo>
                    <a:close/>
                    <a:moveTo>
                      <a:pt x="128" y="140"/>
                    </a:moveTo>
                    <a:cubicBezTo>
                      <a:pt x="128" y="302"/>
                      <a:pt x="128" y="302"/>
                      <a:pt x="128" y="302"/>
                    </a:cubicBezTo>
                    <a:cubicBezTo>
                      <a:pt x="128" y="308"/>
                      <a:pt x="123" y="312"/>
                      <a:pt x="117" y="312"/>
                    </a:cubicBezTo>
                    <a:cubicBezTo>
                      <a:pt x="111" y="312"/>
                      <a:pt x="106" y="308"/>
                      <a:pt x="106" y="302"/>
                    </a:cubicBezTo>
                    <a:cubicBezTo>
                      <a:pt x="106" y="140"/>
                      <a:pt x="106" y="140"/>
                      <a:pt x="106" y="140"/>
                    </a:cubicBezTo>
                    <a:cubicBezTo>
                      <a:pt x="94" y="135"/>
                      <a:pt x="85" y="124"/>
                      <a:pt x="85" y="110"/>
                    </a:cubicBezTo>
                    <a:cubicBezTo>
                      <a:pt x="85" y="92"/>
                      <a:pt x="99" y="78"/>
                      <a:pt x="117" y="78"/>
                    </a:cubicBezTo>
                    <a:cubicBezTo>
                      <a:pt x="135" y="78"/>
                      <a:pt x="149" y="92"/>
                      <a:pt x="149" y="110"/>
                    </a:cubicBezTo>
                    <a:cubicBezTo>
                      <a:pt x="149" y="124"/>
                      <a:pt x="140" y="135"/>
                      <a:pt x="128" y="140"/>
                    </a:cubicBezTo>
                    <a:close/>
                    <a:moveTo>
                      <a:pt x="106" y="110"/>
                    </a:moveTo>
                    <a:cubicBezTo>
                      <a:pt x="106" y="116"/>
                      <a:pt x="111" y="120"/>
                      <a:pt x="117" y="120"/>
                    </a:cubicBezTo>
                    <a:cubicBezTo>
                      <a:pt x="123" y="120"/>
                      <a:pt x="128" y="116"/>
                      <a:pt x="128" y="110"/>
                    </a:cubicBezTo>
                    <a:cubicBezTo>
                      <a:pt x="128" y="104"/>
                      <a:pt x="123" y="99"/>
                      <a:pt x="117" y="99"/>
                    </a:cubicBezTo>
                    <a:cubicBezTo>
                      <a:pt x="111" y="99"/>
                      <a:pt x="106" y="104"/>
                      <a:pt x="106" y="110"/>
                    </a:cubicBezTo>
                    <a:close/>
                    <a:moveTo>
                      <a:pt x="192" y="110"/>
                    </a:moveTo>
                    <a:cubicBezTo>
                      <a:pt x="192" y="83"/>
                      <a:pt x="177" y="58"/>
                      <a:pt x="154" y="45"/>
                    </a:cubicBezTo>
                    <a:cubicBezTo>
                      <a:pt x="149" y="42"/>
                      <a:pt x="143" y="44"/>
                      <a:pt x="140" y="49"/>
                    </a:cubicBezTo>
                    <a:cubicBezTo>
                      <a:pt x="137" y="54"/>
                      <a:pt x="139" y="61"/>
                      <a:pt x="144" y="63"/>
                    </a:cubicBezTo>
                    <a:cubicBezTo>
                      <a:pt x="160" y="73"/>
                      <a:pt x="170" y="91"/>
                      <a:pt x="170" y="110"/>
                    </a:cubicBezTo>
                    <a:cubicBezTo>
                      <a:pt x="170" y="129"/>
                      <a:pt x="160" y="146"/>
                      <a:pt x="144" y="156"/>
                    </a:cubicBezTo>
                    <a:cubicBezTo>
                      <a:pt x="139" y="159"/>
                      <a:pt x="137" y="165"/>
                      <a:pt x="140" y="170"/>
                    </a:cubicBezTo>
                    <a:cubicBezTo>
                      <a:pt x="142" y="174"/>
                      <a:pt x="145" y="176"/>
                      <a:pt x="149" y="176"/>
                    </a:cubicBezTo>
                    <a:cubicBezTo>
                      <a:pt x="151" y="176"/>
                      <a:pt x="153" y="175"/>
                      <a:pt x="154" y="174"/>
                    </a:cubicBezTo>
                    <a:cubicBezTo>
                      <a:pt x="177" y="161"/>
                      <a:pt x="192" y="136"/>
                      <a:pt x="192" y="110"/>
                    </a:cubicBezTo>
                    <a:close/>
                    <a:moveTo>
                      <a:pt x="164" y="2"/>
                    </a:moveTo>
                    <a:cubicBezTo>
                      <a:pt x="159" y="0"/>
                      <a:pt x="152" y="2"/>
                      <a:pt x="150" y="8"/>
                    </a:cubicBezTo>
                    <a:cubicBezTo>
                      <a:pt x="148" y="13"/>
                      <a:pt x="150" y="19"/>
                      <a:pt x="155" y="22"/>
                    </a:cubicBezTo>
                    <a:cubicBezTo>
                      <a:pt x="190" y="37"/>
                      <a:pt x="213" y="71"/>
                      <a:pt x="213" y="110"/>
                    </a:cubicBezTo>
                    <a:cubicBezTo>
                      <a:pt x="213" y="148"/>
                      <a:pt x="190" y="182"/>
                      <a:pt x="155" y="198"/>
                    </a:cubicBezTo>
                    <a:cubicBezTo>
                      <a:pt x="150" y="200"/>
                      <a:pt x="148" y="206"/>
                      <a:pt x="150" y="212"/>
                    </a:cubicBezTo>
                    <a:cubicBezTo>
                      <a:pt x="152" y="216"/>
                      <a:pt x="156" y="218"/>
                      <a:pt x="160" y="218"/>
                    </a:cubicBezTo>
                    <a:cubicBezTo>
                      <a:pt x="161" y="218"/>
                      <a:pt x="163" y="218"/>
                      <a:pt x="164" y="217"/>
                    </a:cubicBezTo>
                    <a:cubicBezTo>
                      <a:pt x="207" y="199"/>
                      <a:pt x="234" y="156"/>
                      <a:pt x="234" y="110"/>
                    </a:cubicBezTo>
                    <a:cubicBezTo>
                      <a:pt x="234" y="63"/>
                      <a:pt x="207" y="21"/>
                      <a:pt x="16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19" name="Freeform 252">
              <a:extLst>
                <a:ext uri="{FF2B5EF4-FFF2-40B4-BE49-F238E27FC236}">
                  <a16:creationId xmlns:a16="http://schemas.microsoft.com/office/drawing/2014/main" id="{A3F961DE-30F8-8ADC-53F7-66E565761FA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884162" y="4142744"/>
              <a:ext cx="249759" cy="288000"/>
            </a:xfrm>
            <a:custGeom>
              <a:avLst/>
              <a:gdLst>
                <a:gd name="T0" fmla="*/ 2147483646 w 235"/>
                <a:gd name="T1" fmla="*/ 2147483646 h 320"/>
                <a:gd name="T2" fmla="*/ 2147483646 w 235"/>
                <a:gd name="T3" fmla="*/ 2147483646 h 320"/>
                <a:gd name="T4" fmla="*/ 2147483646 w 235"/>
                <a:gd name="T5" fmla="*/ 2147483646 h 320"/>
                <a:gd name="T6" fmla="*/ 2147483646 w 235"/>
                <a:gd name="T7" fmla="*/ 2147483646 h 320"/>
                <a:gd name="T8" fmla="*/ 2147483646 w 235"/>
                <a:gd name="T9" fmla="*/ 2147483646 h 320"/>
                <a:gd name="T10" fmla="*/ 2147483646 w 235"/>
                <a:gd name="T11" fmla="*/ 2147483646 h 320"/>
                <a:gd name="T12" fmla="*/ 2147483646 w 235"/>
                <a:gd name="T13" fmla="*/ 2147483646 h 320"/>
                <a:gd name="T14" fmla="*/ 2147483646 w 235"/>
                <a:gd name="T15" fmla="*/ 2147483646 h 320"/>
                <a:gd name="T16" fmla="*/ 2147483646 w 235"/>
                <a:gd name="T17" fmla="*/ 2147483646 h 320"/>
                <a:gd name="T18" fmla="*/ 2147483646 w 235"/>
                <a:gd name="T19" fmla="*/ 2147483646 h 320"/>
                <a:gd name="T20" fmla="*/ 2147483646 w 235"/>
                <a:gd name="T21" fmla="*/ 2147483646 h 320"/>
                <a:gd name="T22" fmla="*/ 2147483646 w 235"/>
                <a:gd name="T23" fmla="*/ 2147483646 h 320"/>
                <a:gd name="T24" fmla="*/ 2147483646 w 235"/>
                <a:gd name="T25" fmla="*/ 2147483646 h 320"/>
                <a:gd name="T26" fmla="*/ 2147483646 w 235"/>
                <a:gd name="T27" fmla="*/ 2147483646 h 320"/>
                <a:gd name="T28" fmla="*/ 2147483646 w 235"/>
                <a:gd name="T29" fmla="*/ 2147483646 h 320"/>
                <a:gd name="T30" fmla="*/ 2147483646 w 235"/>
                <a:gd name="T31" fmla="*/ 2147483646 h 320"/>
                <a:gd name="T32" fmla="*/ 2147483646 w 235"/>
                <a:gd name="T33" fmla="*/ 2147483646 h 320"/>
                <a:gd name="T34" fmla="*/ 2147483646 w 235"/>
                <a:gd name="T35" fmla="*/ 2147483646 h 320"/>
                <a:gd name="T36" fmla="*/ 2147483646 w 235"/>
                <a:gd name="T37" fmla="*/ 2147483646 h 320"/>
                <a:gd name="T38" fmla="*/ 2147483646 w 235"/>
                <a:gd name="T39" fmla="*/ 2147483646 h 320"/>
                <a:gd name="T40" fmla="*/ 2147483646 w 235"/>
                <a:gd name="T41" fmla="*/ 2147483646 h 320"/>
                <a:gd name="T42" fmla="*/ 2147483646 w 235"/>
                <a:gd name="T43" fmla="*/ 2147483646 h 320"/>
                <a:gd name="T44" fmla="*/ 2147483646 w 235"/>
                <a:gd name="T45" fmla="*/ 2147483646 h 320"/>
                <a:gd name="T46" fmla="*/ 2147483646 w 235"/>
                <a:gd name="T47" fmla="*/ 2147483646 h 320"/>
                <a:gd name="T48" fmla="*/ 2147483646 w 235"/>
                <a:gd name="T49" fmla="*/ 2147483646 h 320"/>
                <a:gd name="T50" fmla="*/ 2147483646 w 235"/>
                <a:gd name="T51" fmla="*/ 2147483646 h 320"/>
                <a:gd name="T52" fmla="*/ 2147483646 w 235"/>
                <a:gd name="T53" fmla="*/ 2147483646 h 320"/>
                <a:gd name="T54" fmla="*/ 2147483646 w 235"/>
                <a:gd name="T55" fmla="*/ 2147483646 h 320"/>
                <a:gd name="T56" fmla="*/ 2147483646 w 235"/>
                <a:gd name="T57" fmla="*/ 2147483646 h 320"/>
                <a:gd name="T58" fmla="*/ 2147483646 w 235"/>
                <a:gd name="T59" fmla="*/ 2147483646 h 320"/>
                <a:gd name="T60" fmla="*/ 2147483646 w 235"/>
                <a:gd name="T61" fmla="*/ 2147483646 h 320"/>
                <a:gd name="T62" fmla="*/ 2147483646 w 235"/>
                <a:gd name="T63" fmla="*/ 2147483646 h 320"/>
                <a:gd name="T64" fmla="*/ 2147483646 w 235"/>
                <a:gd name="T65" fmla="*/ 2147483646 h 320"/>
                <a:gd name="T66" fmla="*/ 2147483646 w 235"/>
                <a:gd name="T67" fmla="*/ 2147483646 h 320"/>
                <a:gd name="T68" fmla="*/ 2147483646 w 235"/>
                <a:gd name="T69" fmla="*/ 2147483646 h 320"/>
                <a:gd name="T70" fmla="*/ 2147483646 w 235"/>
                <a:gd name="T71" fmla="*/ 2147483646 h 320"/>
                <a:gd name="T72" fmla="*/ 2147483646 w 235"/>
                <a:gd name="T73" fmla="*/ 2147483646 h 320"/>
                <a:gd name="T74" fmla="*/ 2147483646 w 235"/>
                <a:gd name="T75" fmla="*/ 2147483646 h 320"/>
                <a:gd name="T76" fmla="*/ 2147483646 w 235"/>
                <a:gd name="T77" fmla="*/ 2147483646 h 320"/>
                <a:gd name="T78" fmla="*/ 2147483646 w 235"/>
                <a:gd name="T79" fmla="*/ 2147483646 h 320"/>
                <a:gd name="T80" fmla="*/ 2147483646 w 235"/>
                <a:gd name="T81" fmla="*/ 2147483646 h 320"/>
                <a:gd name="T82" fmla="*/ 2147483646 w 235"/>
                <a:gd name="T83" fmla="*/ 2147483646 h 320"/>
                <a:gd name="T84" fmla="*/ 2147483646 w 235"/>
                <a:gd name="T85" fmla="*/ 2147483646 h 320"/>
                <a:gd name="T86" fmla="*/ 2147483646 w 235"/>
                <a:gd name="T87" fmla="*/ 2147483646 h 320"/>
                <a:gd name="T88" fmla="*/ 2147483646 w 235"/>
                <a:gd name="T89" fmla="*/ 2147483646 h 320"/>
                <a:gd name="T90" fmla="*/ 2147483646 w 235"/>
                <a:gd name="T91" fmla="*/ 2147483646 h 320"/>
                <a:gd name="T92" fmla="*/ 2147483646 w 235"/>
                <a:gd name="T93" fmla="*/ 2147483646 h 320"/>
                <a:gd name="T94" fmla="*/ 2147483646 w 235"/>
                <a:gd name="T95" fmla="*/ 2147483646 h 320"/>
                <a:gd name="T96" fmla="*/ 2147483646 w 235"/>
                <a:gd name="T97" fmla="*/ 2147483646 h 320"/>
                <a:gd name="T98" fmla="*/ 2147483646 w 235"/>
                <a:gd name="T99" fmla="*/ 2147483646 h 320"/>
                <a:gd name="T100" fmla="*/ 0 w 235"/>
                <a:gd name="T101" fmla="*/ 2147483646 h 320"/>
                <a:gd name="T102" fmla="*/ 2147483646 w 235"/>
                <a:gd name="T103" fmla="*/ 2147483646 h 320"/>
                <a:gd name="T104" fmla="*/ 2147483646 w 235"/>
                <a:gd name="T105" fmla="*/ 2147483646 h 320"/>
                <a:gd name="T106" fmla="*/ 2147483646 w 235"/>
                <a:gd name="T107" fmla="*/ 2147483646 h 320"/>
                <a:gd name="T108" fmla="*/ 2147483646 w 235"/>
                <a:gd name="T109" fmla="*/ 2147483646 h 320"/>
                <a:gd name="T110" fmla="*/ 2147483646 w 235"/>
                <a:gd name="T111" fmla="*/ 2147483646 h 320"/>
                <a:gd name="T112" fmla="*/ 2147483646 w 235"/>
                <a:gd name="T113" fmla="*/ 2147483646 h 3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35" h="320">
                  <a:moveTo>
                    <a:pt x="87" y="228"/>
                  </a:moveTo>
                  <a:cubicBezTo>
                    <a:pt x="86" y="226"/>
                    <a:pt x="86" y="225"/>
                    <a:pt x="86" y="224"/>
                  </a:cubicBezTo>
                  <a:cubicBezTo>
                    <a:pt x="86" y="221"/>
                    <a:pt x="87" y="218"/>
                    <a:pt x="89" y="216"/>
                  </a:cubicBezTo>
                  <a:cubicBezTo>
                    <a:pt x="89" y="216"/>
                    <a:pt x="90" y="215"/>
                    <a:pt x="90" y="215"/>
                  </a:cubicBezTo>
                  <a:cubicBezTo>
                    <a:pt x="91" y="214"/>
                    <a:pt x="92" y="214"/>
                    <a:pt x="92" y="214"/>
                  </a:cubicBezTo>
                  <a:cubicBezTo>
                    <a:pt x="93" y="214"/>
                    <a:pt x="94" y="213"/>
                    <a:pt x="94" y="213"/>
                  </a:cubicBezTo>
                  <a:cubicBezTo>
                    <a:pt x="98" y="212"/>
                    <a:pt x="101" y="214"/>
                    <a:pt x="104" y="216"/>
                  </a:cubicBezTo>
                  <a:cubicBezTo>
                    <a:pt x="106" y="218"/>
                    <a:pt x="107" y="221"/>
                    <a:pt x="107" y="224"/>
                  </a:cubicBezTo>
                  <a:cubicBezTo>
                    <a:pt x="107" y="225"/>
                    <a:pt x="107" y="226"/>
                    <a:pt x="106" y="228"/>
                  </a:cubicBezTo>
                  <a:cubicBezTo>
                    <a:pt x="106" y="229"/>
                    <a:pt x="105" y="230"/>
                    <a:pt x="104" y="231"/>
                  </a:cubicBezTo>
                  <a:cubicBezTo>
                    <a:pt x="103" y="232"/>
                    <a:pt x="102" y="233"/>
                    <a:pt x="100" y="233"/>
                  </a:cubicBezTo>
                  <a:cubicBezTo>
                    <a:pt x="99" y="234"/>
                    <a:pt x="98" y="234"/>
                    <a:pt x="96" y="234"/>
                  </a:cubicBezTo>
                  <a:cubicBezTo>
                    <a:pt x="93" y="234"/>
                    <a:pt x="91" y="233"/>
                    <a:pt x="89" y="231"/>
                  </a:cubicBezTo>
                  <a:cubicBezTo>
                    <a:pt x="88" y="230"/>
                    <a:pt x="87" y="229"/>
                    <a:pt x="87" y="228"/>
                  </a:cubicBezTo>
                  <a:close/>
                  <a:moveTo>
                    <a:pt x="89" y="274"/>
                  </a:moveTo>
                  <a:cubicBezTo>
                    <a:pt x="90" y="275"/>
                    <a:pt x="91" y="276"/>
                    <a:pt x="92" y="276"/>
                  </a:cubicBezTo>
                  <a:cubicBezTo>
                    <a:pt x="94" y="277"/>
                    <a:pt x="95" y="277"/>
                    <a:pt x="96" y="277"/>
                  </a:cubicBezTo>
                  <a:cubicBezTo>
                    <a:pt x="98" y="277"/>
                    <a:pt x="99" y="277"/>
                    <a:pt x="100" y="276"/>
                  </a:cubicBezTo>
                  <a:cubicBezTo>
                    <a:pt x="102" y="276"/>
                    <a:pt x="103" y="275"/>
                    <a:pt x="104" y="274"/>
                  </a:cubicBezTo>
                  <a:cubicBezTo>
                    <a:pt x="105" y="273"/>
                    <a:pt x="106" y="272"/>
                    <a:pt x="106" y="270"/>
                  </a:cubicBezTo>
                  <a:cubicBezTo>
                    <a:pt x="107" y="269"/>
                    <a:pt x="107" y="268"/>
                    <a:pt x="107" y="266"/>
                  </a:cubicBezTo>
                  <a:cubicBezTo>
                    <a:pt x="107" y="265"/>
                    <a:pt x="107" y="264"/>
                    <a:pt x="106" y="262"/>
                  </a:cubicBezTo>
                  <a:cubicBezTo>
                    <a:pt x="106" y="261"/>
                    <a:pt x="105" y="260"/>
                    <a:pt x="104" y="259"/>
                  </a:cubicBezTo>
                  <a:cubicBezTo>
                    <a:pt x="101" y="256"/>
                    <a:pt x="96" y="255"/>
                    <a:pt x="92" y="257"/>
                  </a:cubicBezTo>
                  <a:cubicBezTo>
                    <a:pt x="91" y="257"/>
                    <a:pt x="90" y="258"/>
                    <a:pt x="89" y="259"/>
                  </a:cubicBezTo>
                  <a:cubicBezTo>
                    <a:pt x="88" y="260"/>
                    <a:pt x="87" y="261"/>
                    <a:pt x="87" y="262"/>
                  </a:cubicBezTo>
                  <a:cubicBezTo>
                    <a:pt x="86" y="264"/>
                    <a:pt x="86" y="265"/>
                    <a:pt x="86" y="266"/>
                  </a:cubicBezTo>
                  <a:cubicBezTo>
                    <a:pt x="86" y="268"/>
                    <a:pt x="86" y="269"/>
                    <a:pt x="87" y="270"/>
                  </a:cubicBezTo>
                  <a:cubicBezTo>
                    <a:pt x="87" y="272"/>
                    <a:pt x="88" y="273"/>
                    <a:pt x="89" y="274"/>
                  </a:cubicBezTo>
                  <a:close/>
                  <a:moveTo>
                    <a:pt x="46" y="231"/>
                  </a:moveTo>
                  <a:cubicBezTo>
                    <a:pt x="48" y="233"/>
                    <a:pt x="51" y="234"/>
                    <a:pt x="54" y="234"/>
                  </a:cubicBezTo>
                  <a:cubicBezTo>
                    <a:pt x="55" y="234"/>
                    <a:pt x="56" y="234"/>
                    <a:pt x="58" y="233"/>
                  </a:cubicBezTo>
                  <a:cubicBezTo>
                    <a:pt x="59" y="233"/>
                    <a:pt x="60" y="232"/>
                    <a:pt x="61" y="231"/>
                  </a:cubicBezTo>
                  <a:cubicBezTo>
                    <a:pt x="62" y="230"/>
                    <a:pt x="63" y="229"/>
                    <a:pt x="63" y="228"/>
                  </a:cubicBezTo>
                  <a:cubicBezTo>
                    <a:pt x="64" y="226"/>
                    <a:pt x="64" y="225"/>
                    <a:pt x="64" y="224"/>
                  </a:cubicBezTo>
                  <a:cubicBezTo>
                    <a:pt x="64" y="221"/>
                    <a:pt x="63" y="218"/>
                    <a:pt x="61" y="216"/>
                  </a:cubicBezTo>
                  <a:cubicBezTo>
                    <a:pt x="60" y="215"/>
                    <a:pt x="59" y="214"/>
                    <a:pt x="58" y="214"/>
                  </a:cubicBezTo>
                  <a:cubicBezTo>
                    <a:pt x="54" y="212"/>
                    <a:pt x="49" y="213"/>
                    <a:pt x="46" y="216"/>
                  </a:cubicBezTo>
                  <a:cubicBezTo>
                    <a:pt x="44" y="218"/>
                    <a:pt x="43" y="221"/>
                    <a:pt x="43" y="224"/>
                  </a:cubicBezTo>
                  <a:cubicBezTo>
                    <a:pt x="43" y="225"/>
                    <a:pt x="43" y="226"/>
                    <a:pt x="44" y="228"/>
                  </a:cubicBezTo>
                  <a:cubicBezTo>
                    <a:pt x="44" y="229"/>
                    <a:pt x="45" y="230"/>
                    <a:pt x="46" y="231"/>
                  </a:cubicBezTo>
                  <a:close/>
                  <a:moveTo>
                    <a:pt x="54" y="192"/>
                  </a:moveTo>
                  <a:cubicBezTo>
                    <a:pt x="57" y="192"/>
                    <a:pt x="59" y="191"/>
                    <a:pt x="61" y="189"/>
                  </a:cubicBezTo>
                  <a:cubicBezTo>
                    <a:pt x="62" y="188"/>
                    <a:pt x="63" y="186"/>
                    <a:pt x="63" y="185"/>
                  </a:cubicBezTo>
                  <a:cubicBezTo>
                    <a:pt x="64" y="184"/>
                    <a:pt x="64" y="182"/>
                    <a:pt x="64" y="181"/>
                  </a:cubicBezTo>
                  <a:cubicBezTo>
                    <a:pt x="64" y="180"/>
                    <a:pt x="64" y="178"/>
                    <a:pt x="63" y="177"/>
                  </a:cubicBezTo>
                  <a:cubicBezTo>
                    <a:pt x="63" y="176"/>
                    <a:pt x="62" y="174"/>
                    <a:pt x="61" y="173"/>
                  </a:cubicBezTo>
                  <a:cubicBezTo>
                    <a:pt x="60" y="172"/>
                    <a:pt x="59" y="172"/>
                    <a:pt x="58" y="171"/>
                  </a:cubicBezTo>
                  <a:cubicBezTo>
                    <a:pt x="55" y="170"/>
                    <a:pt x="52" y="170"/>
                    <a:pt x="50" y="171"/>
                  </a:cubicBezTo>
                  <a:cubicBezTo>
                    <a:pt x="48" y="172"/>
                    <a:pt x="47" y="172"/>
                    <a:pt x="46" y="173"/>
                  </a:cubicBezTo>
                  <a:cubicBezTo>
                    <a:pt x="45" y="174"/>
                    <a:pt x="44" y="176"/>
                    <a:pt x="44" y="177"/>
                  </a:cubicBezTo>
                  <a:cubicBezTo>
                    <a:pt x="43" y="178"/>
                    <a:pt x="43" y="180"/>
                    <a:pt x="43" y="181"/>
                  </a:cubicBezTo>
                  <a:cubicBezTo>
                    <a:pt x="43" y="184"/>
                    <a:pt x="44" y="187"/>
                    <a:pt x="46" y="189"/>
                  </a:cubicBezTo>
                  <a:cubicBezTo>
                    <a:pt x="48" y="191"/>
                    <a:pt x="51" y="192"/>
                    <a:pt x="54" y="192"/>
                  </a:cubicBezTo>
                  <a:close/>
                  <a:moveTo>
                    <a:pt x="92" y="191"/>
                  </a:moveTo>
                  <a:cubicBezTo>
                    <a:pt x="94" y="191"/>
                    <a:pt x="95" y="192"/>
                    <a:pt x="96" y="192"/>
                  </a:cubicBezTo>
                  <a:cubicBezTo>
                    <a:pt x="99" y="192"/>
                    <a:pt x="102" y="191"/>
                    <a:pt x="104" y="189"/>
                  </a:cubicBezTo>
                  <a:cubicBezTo>
                    <a:pt x="105" y="188"/>
                    <a:pt x="106" y="186"/>
                    <a:pt x="106" y="185"/>
                  </a:cubicBezTo>
                  <a:cubicBezTo>
                    <a:pt x="107" y="184"/>
                    <a:pt x="107" y="182"/>
                    <a:pt x="107" y="181"/>
                  </a:cubicBezTo>
                  <a:cubicBezTo>
                    <a:pt x="107" y="180"/>
                    <a:pt x="107" y="178"/>
                    <a:pt x="106" y="177"/>
                  </a:cubicBezTo>
                  <a:cubicBezTo>
                    <a:pt x="106" y="176"/>
                    <a:pt x="105" y="174"/>
                    <a:pt x="104" y="173"/>
                  </a:cubicBezTo>
                  <a:cubicBezTo>
                    <a:pt x="100" y="169"/>
                    <a:pt x="93" y="169"/>
                    <a:pt x="89" y="173"/>
                  </a:cubicBezTo>
                  <a:cubicBezTo>
                    <a:pt x="88" y="174"/>
                    <a:pt x="87" y="176"/>
                    <a:pt x="87" y="177"/>
                  </a:cubicBezTo>
                  <a:cubicBezTo>
                    <a:pt x="86" y="178"/>
                    <a:pt x="86" y="180"/>
                    <a:pt x="86" y="181"/>
                  </a:cubicBezTo>
                  <a:cubicBezTo>
                    <a:pt x="86" y="184"/>
                    <a:pt x="87" y="187"/>
                    <a:pt x="89" y="189"/>
                  </a:cubicBezTo>
                  <a:cubicBezTo>
                    <a:pt x="90" y="190"/>
                    <a:pt x="91" y="190"/>
                    <a:pt x="92" y="191"/>
                  </a:cubicBezTo>
                  <a:close/>
                  <a:moveTo>
                    <a:pt x="89" y="146"/>
                  </a:moveTo>
                  <a:cubicBezTo>
                    <a:pt x="90" y="147"/>
                    <a:pt x="91" y="148"/>
                    <a:pt x="92" y="148"/>
                  </a:cubicBezTo>
                  <a:cubicBezTo>
                    <a:pt x="94" y="149"/>
                    <a:pt x="95" y="149"/>
                    <a:pt x="96" y="149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2" y="148"/>
                    <a:pt x="103" y="147"/>
                    <a:pt x="104" y="146"/>
                  </a:cubicBezTo>
                  <a:cubicBezTo>
                    <a:pt x="106" y="144"/>
                    <a:pt x="107" y="141"/>
                    <a:pt x="107" y="138"/>
                  </a:cubicBezTo>
                  <a:cubicBezTo>
                    <a:pt x="107" y="136"/>
                    <a:pt x="106" y="133"/>
                    <a:pt x="104" y="131"/>
                  </a:cubicBezTo>
                  <a:cubicBezTo>
                    <a:pt x="103" y="130"/>
                    <a:pt x="103" y="130"/>
                    <a:pt x="102" y="129"/>
                  </a:cubicBezTo>
                  <a:cubicBezTo>
                    <a:pt x="102" y="129"/>
                    <a:pt x="101" y="129"/>
                    <a:pt x="100" y="129"/>
                  </a:cubicBezTo>
                  <a:cubicBezTo>
                    <a:pt x="100" y="128"/>
                    <a:pt x="99" y="128"/>
                    <a:pt x="98" y="128"/>
                  </a:cubicBezTo>
                  <a:cubicBezTo>
                    <a:pt x="96" y="127"/>
                    <a:pt x="94" y="128"/>
                    <a:pt x="92" y="129"/>
                  </a:cubicBezTo>
                  <a:cubicBezTo>
                    <a:pt x="91" y="129"/>
                    <a:pt x="90" y="130"/>
                    <a:pt x="89" y="131"/>
                  </a:cubicBezTo>
                  <a:cubicBezTo>
                    <a:pt x="87" y="133"/>
                    <a:pt x="86" y="136"/>
                    <a:pt x="86" y="138"/>
                  </a:cubicBezTo>
                  <a:cubicBezTo>
                    <a:pt x="86" y="140"/>
                    <a:pt x="86" y="141"/>
                    <a:pt x="87" y="142"/>
                  </a:cubicBezTo>
                  <a:cubicBezTo>
                    <a:pt x="87" y="144"/>
                    <a:pt x="88" y="145"/>
                    <a:pt x="89" y="146"/>
                  </a:cubicBezTo>
                  <a:close/>
                  <a:moveTo>
                    <a:pt x="50" y="148"/>
                  </a:moveTo>
                  <a:cubicBezTo>
                    <a:pt x="51" y="149"/>
                    <a:pt x="52" y="149"/>
                    <a:pt x="54" y="149"/>
                  </a:cubicBezTo>
                  <a:cubicBezTo>
                    <a:pt x="55" y="149"/>
                    <a:pt x="56" y="149"/>
                    <a:pt x="58" y="148"/>
                  </a:cubicBezTo>
                  <a:cubicBezTo>
                    <a:pt x="59" y="148"/>
                    <a:pt x="60" y="147"/>
                    <a:pt x="61" y="146"/>
                  </a:cubicBezTo>
                  <a:cubicBezTo>
                    <a:pt x="62" y="145"/>
                    <a:pt x="63" y="144"/>
                    <a:pt x="63" y="142"/>
                  </a:cubicBezTo>
                  <a:cubicBezTo>
                    <a:pt x="64" y="141"/>
                    <a:pt x="64" y="140"/>
                    <a:pt x="64" y="138"/>
                  </a:cubicBezTo>
                  <a:cubicBezTo>
                    <a:pt x="64" y="136"/>
                    <a:pt x="63" y="133"/>
                    <a:pt x="61" y="131"/>
                  </a:cubicBezTo>
                  <a:cubicBezTo>
                    <a:pt x="61" y="130"/>
                    <a:pt x="60" y="130"/>
                    <a:pt x="60" y="129"/>
                  </a:cubicBezTo>
                  <a:cubicBezTo>
                    <a:pt x="59" y="129"/>
                    <a:pt x="58" y="129"/>
                    <a:pt x="58" y="129"/>
                  </a:cubicBezTo>
                  <a:cubicBezTo>
                    <a:pt x="57" y="128"/>
                    <a:pt x="56" y="128"/>
                    <a:pt x="56" y="128"/>
                  </a:cubicBezTo>
                  <a:cubicBezTo>
                    <a:pt x="54" y="128"/>
                    <a:pt x="53" y="128"/>
                    <a:pt x="52" y="128"/>
                  </a:cubicBezTo>
                  <a:cubicBezTo>
                    <a:pt x="51" y="128"/>
                    <a:pt x="50" y="128"/>
                    <a:pt x="50" y="129"/>
                  </a:cubicBezTo>
                  <a:cubicBezTo>
                    <a:pt x="49" y="129"/>
                    <a:pt x="48" y="129"/>
                    <a:pt x="48" y="129"/>
                  </a:cubicBezTo>
                  <a:cubicBezTo>
                    <a:pt x="47" y="130"/>
                    <a:pt x="47" y="130"/>
                    <a:pt x="46" y="131"/>
                  </a:cubicBezTo>
                  <a:cubicBezTo>
                    <a:pt x="44" y="133"/>
                    <a:pt x="43" y="136"/>
                    <a:pt x="43" y="138"/>
                  </a:cubicBezTo>
                  <a:cubicBezTo>
                    <a:pt x="43" y="141"/>
                    <a:pt x="44" y="144"/>
                    <a:pt x="46" y="146"/>
                  </a:cubicBezTo>
                  <a:cubicBezTo>
                    <a:pt x="47" y="147"/>
                    <a:pt x="48" y="148"/>
                    <a:pt x="50" y="148"/>
                  </a:cubicBezTo>
                  <a:close/>
                  <a:moveTo>
                    <a:pt x="50" y="105"/>
                  </a:moveTo>
                  <a:cubicBezTo>
                    <a:pt x="51" y="106"/>
                    <a:pt x="52" y="106"/>
                    <a:pt x="54" y="106"/>
                  </a:cubicBezTo>
                  <a:cubicBezTo>
                    <a:pt x="57" y="106"/>
                    <a:pt x="59" y="105"/>
                    <a:pt x="61" y="103"/>
                  </a:cubicBezTo>
                  <a:cubicBezTo>
                    <a:pt x="63" y="101"/>
                    <a:pt x="64" y="99"/>
                    <a:pt x="64" y="96"/>
                  </a:cubicBezTo>
                  <a:cubicBezTo>
                    <a:pt x="64" y="94"/>
                    <a:pt x="64" y="93"/>
                    <a:pt x="63" y="92"/>
                  </a:cubicBezTo>
                  <a:cubicBezTo>
                    <a:pt x="63" y="90"/>
                    <a:pt x="62" y="89"/>
                    <a:pt x="61" y="88"/>
                  </a:cubicBezTo>
                  <a:cubicBezTo>
                    <a:pt x="60" y="87"/>
                    <a:pt x="59" y="86"/>
                    <a:pt x="58" y="86"/>
                  </a:cubicBezTo>
                  <a:cubicBezTo>
                    <a:pt x="56" y="85"/>
                    <a:pt x="54" y="85"/>
                    <a:pt x="52" y="85"/>
                  </a:cubicBezTo>
                  <a:cubicBezTo>
                    <a:pt x="51" y="85"/>
                    <a:pt x="50" y="86"/>
                    <a:pt x="50" y="86"/>
                  </a:cubicBezTo>
                  <a:cubicBezTo>
                    <a:pt x="49" y="86"/>
                    <a:pt x="48" y="86"/>
                    <a:pt x="48" y="87"/>
                  </a:cubicBezTo>
                  <a:cubicBezTo>
                    <a:pt x="47" y="87"/>
                    <a:pt x="47" y="88"/>
                    <a:pt x="46" y="88"/>
                  </a:cubicBezTo>
                  <a:cubicBezTo>
                    <a:pt x="45" y="89"/>
                    <a:pt x="44" y="90"/>
                    <a:pt x="44" y="92"/>
                  </a:cubicBezTo>
                  <a:cubicBezTo>
                    <a:pt x="43" y="93"/>
                    <a:pt x="43" y="94"/>
                    <a:pt x="43" y="96"/>
                  </a:cubicBezTo>
                  <a:cubicBezTo>
                    <a:pt x="43" y="99"/>
                    <a:pt x="44" y="101"/>
                    <a:pt x="46" y="103"/>
                  </a:cubicBezTo>
                  <a:cubicBezTo>
                    <a:pt x="47" y="104"/>
                    <a:pt x="48" y="105"/>
                    <a:pt x="50" y="105"/>
                  </a:cubicBezTo>
                  <a:close/>
                  <a:moveTo>
                    <a:pt x="92" y="105"/>
                  </a:moveTo>
                  <a:cubicBezTo>
                    <a:pt x="94" y="106"/>
                    <a:pt x="95" y="106"/>
                    <a:pt x="96" y="106"/>
                  </a:cubicBezTo>
                  <a:cubicBezTo>
                    <a:pt x="98" y="106"/>
                    <a:pt x="99" y="106"/>
                    <a:pt x="100" y="105"/>
                  </a:cubicBezTo>
                  <a:cubicBezTo>
                    <a:pt x="102" y="105"/>
                    <a:pt x="103" y="104"/>
                    <a:pt x="104" y="103"/>
                  </a:cubicBezTo>
                  <a:cubicBezTo>
                    <a:pt x="106" y="101"/>
                    <a:pt x="107" y="99"/>
                    <a:pt x="107" y="96"/>
                  </a:cubicBezTo>
                  <a:cubicBezTo>
                    <a:pt x="107" y="94"/>
                    <a:pt x="107" y="93"/>
                    <a:pt x="106" y="92"/>
                  </a:cubicBezTo>
                  <a:cubicBezTo>
                    <a:pt x="106" y="90"/>
                    <a:pt x="105" y="89"/>
                    <a:pt x="104" y="88"/>
                  </a:cubicBezTo>
                  <a:cubicBezTo>
                    <a:pt x="101" y="85"/>
                    <a:pt x="96" y="84"/>
                    <a:pt x="92" y="86"/>
                  </a:cubicBezTo>
                  <a:cubicBezTo>
                    <a:pt x="91" y="86"/>
                    <a:pt x="90" y="87"/>
                    <a:pt x="89" y="88"/>
                  </a:cubicBezTo>
                  <a:cubicBezTo>
                    <a:pt x="88" y="89"/>
                    <a:pt x="87" y="90"/>
                    <a:pt x="87" y="92"/>
                  </a:cubicBezTo>
                  <a:cubicBezTo>
                    <a:pt x="86" y="93"/>
                    <a:pt x="86" y="94"/>
                    <a:pt x="86" y="96"/>
                  </a:cubicBezTo>
                  <a:cubicBezTo>
                    <a:pt x="86" y="99"/>
                    <a:pt x="87" y="101"/>
                    <a:pt x="89" y="103"/>
                  </a:cubicBezTo>
                  <a:cubicBezTo>
                    <a:pt x="90" y="104"/>
                    <a:pt x="91" y="105"/>
                    <a:pt x="92" y="105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3"/>
                    <a:pt x="100" y="63"/>
                  </a:cubicBezTo>
                  <a:cubicBezTo>
                    <a:pt x="102" y="62"/>
                    <a:pt x="103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7" y="56"/>
                    <a:pt x="107" y="54"/>
                    <a:pt x="107" y="53"/>
                  </a:cubicBezTo>
                  <a:cubicBezTo>
                    <a:pt x="107" y="52"/>
                    <a:pt x="107" y="50"/>
                    <a:pt x="106" y="49"/>
                  </a:cubicBezTo>
                  <a:cubicBezTo>
                    <a:pt x="106" y="48"/>
                    <a:pt x="105" y="46"/>
                    <a:pt x="104" y="45"/>
                  </a:cubicBezTo>
                  <a:cubicBezTo>
                    <a:pt x="103" y="44"/>
                    <a:pt x="102" y="44"/>
                    <a:pt x="100" y="43"/>
                  </a:cubicBezTo>
                  <a:cubicBezTo>
                    <a:pt x="97" y="41"/>
                    <a:pt x="92" y="42"/>
                    <a:pt x="89" y="45"/>
                  </a:cubicBezTo>
                  <a:cubicBezTo>
                    <a:pt x="88" y="46"/>
                    <a:pt x="87" y="48"/>
                    <a:pt x="87" y="49"/>
                  </a:cubicBezTo>
                  <a:cubicBezTo>
                    <a:pt x="86" y="50"/>
                    <a:pt x="86" y="52"/>
                    <a:pt x="86" y="53"/>
                  </a:cubicBezTo>
                  <a:cubicBezTo>
                    <a:pt x="86" y="56"/>
                    <a:pt x="87" y="59"/>
                    <a:pt x="89" y="61"/>
                  </a:cubicBezTo>
                  <a:cubicBezTo>
                    <a:pt x="91" y="63"/>
                    <a:pt x="93" y="64"/>
                    <a:pt x="96" y="64"/>
                  </a:cubicBezTo>
                  <a:close/>
                  <a:moveTo>
                    <a:pt x="50" y="63"/>
                  </a:moveTo>
                  <a:cubicBezTo>
                    <a:pt x="51" y="63"/>
                    <a:pt x="52" y="64"/>
                    <a:pt x="54" y="64"/>
                  </a:cubicBezTo>
                  <a:cubicBezTo>
                    <a:pt x="57" y="64"/>
                    <a:pt x="59" y="63"/>
                    <a:pt x="61" y="61"/>
                  </a:cubicBezTo>
                  <a:cubicBezTo>
                    <a:pt x="63" y="59"/>
                    <a:pt x="64" y="56"/>
                    <a:pt x="64" y="53"/>
                  </a:cubicBezTo>
                  <a:cubicBezTo>
                    <a:pt x="64" y="52"/>
                    <a:pt x="64" y="50"/>
                    <a:pt x="63" y="49"/>
                  </a:cubicBezTo>
                  <a:cubicBezTo>
                    <a:pt x="63" y="48"/>
                    <a:pt x="62" y="46"/>
                    <a:pt x="61" y="45"/>
                  </a:cubicBezTo>
                  <a:cubicBezTo>
                    <a:pt x="57" y="41"/>
                    <a:pt x="50" y="41"/>
                    <a:pt x="46" y="45"/>
                  </a:cubicBezTo>
                  <a:cubicBezTo>
                    <a:pt x="45" y="46"/>
                    <a:pt x="44" y="48"/>
                    <a:pt x="44" y="49"/>
                  </a:cubicBezTo>
                  <a:cubicBezTo>
                    <a:pt x="43" y="50"/>
                    <a:pt x="43" y="52"/>
                    <a:pt x="43" y="53"/>
                  </a:cubicBezTo>
                  <a:cubicBezTo>
                    <a:pt x="43" y="56"/>
                    <a:pt x="44" y="59"/>
                    <a:pt x="46" y="61"/>
                  </a:cubicBezTo>
                  <a:cubicBezTo>
                    <a:pt x="47" y="62"/>
                    <a:pt x="48" y="62"/>
                    <a:pt x="50" y="63"/>
                  </a:cubicBezTo>
                  <a:close/>
                  <a:moveTo>
                    <a:pt x="174" y="231"/>
                  </a:moveTo>
                  <a:cubicBezTo>
                    <a:pt x="176" y="233"/>
                    <a:pt x="179" y="234"/>
                    <a:pt x="182" y="234"/>
                  </a:cubicBezTo>
                  <a:cubicBezTo>
                    <a:pt x="184" y="234"/>
                    <a:pt x="187" y="233"/>
                    <a:pt x="189" y="231"/>
                  </a:cubicBezTo>
                  <a:cubicBezTo>
                    <a:pt x="190" y="230"/>
                    <a:pt x="191" y="229"/>
                    <a:pt x="191" y="228"/>
                  </a:cubicBezTo>
                  <a:cubicBezTo>
                    <a:pt x="192" y="226"/>
                    <a:pt x="192" y="225"/>
                    <a:pt x="192" y="224"/>
                  </a:cubicBezTo>
                  <a:cubicBezTo>
                    <a:pt x="192" y="222"/>
                    <a:pt x="192" y="221"/>
                    <a:pt x="191" y="220"/>
                  </a:cubicBezTo>
                  <a:cubicBezTo>
                    <a:pt x="191" y="218"/>
                    <a:pt x="190" y="217"/>
                    <a:pt x="189" y="216"/>
                  </a:cubicBezTo>
                  <a:cubicBezTo>
                    <a:pt x="189" y="216"/>
                    <a:pt x="188" y="215"/>
                    <a:pt x="188" y="215"/>
                  </a:cubicBezTo>
                  <a:cubicBezTo>
                    <a:pt x="187" y="214"/>
                    <a:pt x="186" y="214"/>
                    <a:pt x="186" y="214"/>
                  </a:cubicBezTo>
                  <a:cubicBezTo>
                    <a:pt x="185" y="214"/>
                    <a:pt x="184" y="213"/>
                    <a:pt x="184" y="213"/>
                  </a:cubicBezTo>
                  <a:cubicBezTo>
                    <a:pt x="182" y="213"/>
                    <a:pt x="181" y="213"/>
                    <a:pt x="180" y="213"/>
                  </a:cubicBezTo>
                  <a:cubicBezTo>
                    <a:pt x="179" y="213"/>
                    <a:pt x="178" y="214"/>
                    <a:pt x="178" y="214"/>
                  </a:cubicBezTo>
                  <a:cubicBezTo>
                    <a:pt x="177" y="214"/>
                    <a:pt x="176" y="214"/>
                    <a:pt x="176" y="215"/>
                  </a:cubicBezTo>
                  <a:cubicBezTo>
                    <a:pt x="175" y="215"/>
                    <a:pt x="175" y="216"/>
                    <a:pt x="174" y="216"/>
                  </a:cubicBezTo>
                  <a:cubicBezTo>
                    <a:pt x="173" y="217"/>
                    <a:pt x="172" y="218"/>
                    <a:pt x="172" y="220"/>
                  </a:cubicBezTo>
                  <a:cubicBezTo>
                    <a:pt x="171" y="221"/>
                    <a:pt x="171" y="222"/>
                    <a:pt x="171" y="224"/>
                  </a:cubicBezTo>
                  <a:cubicBezTo>
                    <a:pt x="171" y="225"/>
                    <a:pt x="171" y="226"/>
                    <a:pt x="172" y="228"/>
                  </a:cubicBezTo>
                  <a:cubicBezTo>
                    <a:pt x="172" y="229"/>
                    <a:pt x="173" y="230"/>
                    <a:pt x="174" y="231"/>
                  </a:cubicBezTo>
                  <a:close/>
                  <a:moveTo>
                    <a:pt x="174" y="189"/>
                  </a:moveTo>
                  <a:cubicBezTo>
                    <a:pt x="175" y="190"/>
                    <a:pt x="176" y="190"/>
                    <a:pt x="178" y="191"/>
                  </a:cubicBezTo>
                  <a:cubicBezTo>
                    <a:pt x="179" y="191"/>
                    <a:pt x="180" y="192"/>
                    <a:pt x="182" y="192"/>
                  </a:cubicBezTo>
                  <a:cubicBezTo>
                    <a:pt x="183" y="192"/>
                    <a:pt x="184" y="191"/>
                    <a:pt x="186" y="191"/>
                  </a:cubicBezTo>
                  <a:cubicBezTo>
                    <a:pt x="187" y="190"/>
                    <a:pt x="188" y="190"/>
                    <a:pt x="189" y="189"/>
                  </a:cubicBezTo>
                  <a:cubicBezTo>
                    <a:pt x="190" y="188"/>
                    <a:pt x="191" y="186"/>
                    <a:pt x="191" y="185"/>
                  </a:cubicBezTo>
                  <a:cubicBezTo>
                    <a:pt x="192" y="184"/>
                    <a:pt x="192" y="182"/>
                    <a:pt x="192" y="181"/>
                  </a:cubicBezTo>
                  <a:cubicBezTo>
                    <a:pt x="192" y="180"/>
                    <a:pt x="192" y="178"/>
                    <a:pt x="191" y="177"/>
                  </a:cubicBezTo>
                  <a:cubicBezTo>
                    <a:pt x="191" y="176"/>
                    <a:pt x="190" y="174"/>
                    <a:pt x="189" y="173"/>
                  </a:cubicBezTo>
                  <a:cubicBezTo>
                    <a:pt x="188" y="172"/>
                    <a:pt x="187" y="172"/>
                    <a:pt x="186" y="171"/>
                  </a:cubicBezTo>
                  <a:cubicBezTo>
                    <a:pt x="183" y="170"/>
                    <a:pt x="180" y="170"/>
                    <a:pt x="178" y="171"/>
                  </a:cubicBezTo>
                  <a:cubicBezTo>
                    <a:pt x="176" y="172"/>
                    <a:pt x="175" y="172"/>
                    <a:pt x="174" y="173"/>
                  </a:cubicBezTo>
                  <a:cubicBezTo>
                    <a:pt x="173" y="174"/>
                    <a:pt x="172" y="176"/>
                    <a:pt x="172" y="177"/>
                  </a:cubicBezTo>
                  <a:cubicBezTo>
                    <a:pt x="171" y="178"/>
                    <a:pt x="171" y="180"/>
                    <a:pt x="171" y="181"/>
                  </a:cubicBezTo>
                  <a:cubicBezTo>
                    <a:pt x="171" y="182"/>
                    <a:pt x="171" y="184"/>
                    <a:pt x="172" y="185"/>
                  </a:cubicBezTo>
                  <a:cubicBezTo>
                    <a:pt x="172" y="186"/>
                    <a:pt x="173" y="188"/>
                    <a:pt x="174" y="189"/>
                  </a:cubicBezTo>
                  <a:close/>
                  <a:moveTo>
                    <a:pt x="174" y="146"/>
                  </a:moveTo>
                  <a:cubicBezTo>
                    <a:pt x="175" y="147"/>
                    <a:pt x="176" y="148"/>
                    <a:pt x="178" y="148"/>
                  </a:cubicBezTo>
                  <a:cubicBezTo>
                    <a:pt x="179" y="149"/>
                    <a:pt x="180" y="149"/>
                    <a:pt x="182" y="149"/>
                  </a:cubicBezTo>
                  <a:cubicBezTo>
                    <a:pt x="183" y="149"/>
                    <a:pt x="184" y="149"/>
                    <a:pt x="186" y="148"/>
                  </a:cubicBezTo>
                  <a:cubicBezTo>
                    <a:pt x="187" y="148"/>
                    <a:pt x="188" y="147"/>
                    <a:pt x="189" y="146"/>
                  </a:cubicBezTo>
                  <a:cubicBezTo>
                    <a:pt x="190" y="145"/>
                    <a:pt x="191" y="144"/>
                    <a:pt x="191" y="142"/>
                  </a:cubicBezTo>
                  <a:cubicBezTo>
                    <a:pt x="192" y="141"/>
                    <a:pt x="192" y="140"/>
                    <a:pt x="192" y="138"/>
                  </a:cubicBezTo>
                  <a:cubicBezTo>
                    <a:pt x="192" y="136"/>
                    <a:pt x="191" y="133"/>
                    <a:pt x="189" y="131"/>
                  </a:cubicBezTo>
                  <a:cubicBezTo>
                    <a:pt x="187" y="128"/>
                    <a:pt x="183" y="127"/>
                    <a:pt x="180" y="128"/>
                  </a:cubicBezTo>
                  <a:cubicBezTo>
                    <a:pt x="179" y="128"/>
                    <a:pt x="178" y="128"/>
                    <a:pt x="178" y="129"/>
                  </a:cubicBezTo>
                  <a:cubicBezTo>
                    <a:pt x="177" y="129"/>
                    <a:pt x="176" y="129"/>
                    <a:pt x="176" y="129"/>
                  </a:cubicBezTo>
                  <a:cubicBezTo>
                    <a:pt x="175" y="130"/>
                    <a:pt x="175" y="130"/>
                    <a:pt x="174" y="131"/>
                  </a:cubicBezTo>
                  <a:cubicBezTo>
                    <a:pt x="172" y="133"/>
                    <a:pt x="171" y="136"/>
                    <a:pt x="171" y="138"/>
                  </a:cubicBezTo>
                  <a:cubicBezTo>
                    <a:pt x="171" y="140"/>
                    <a:pt x="171" y="141"/>
                    <a:pt x="172" y="142"/>
                  </a:cubicBezTo>
                  <a:cubicBezTo>
                    <a:pt x="172" y="144"/>
                    <a:pt x="173" y="145"/>
                    <a:pt x="174" y="146"/>
                  </a:cubicBezTo>
                  <a:close/>
                  <a:moveTo>
                    <a:pt x="235" y="96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5" y="0"/>
                    <a:pt x="150" y="4"/>
                    <a:pt x="150" y="10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30" y="85"/>
                    <a:pt x="235" y="90"/>
                    <a:pt x="235" y="96"/>
                  </a:cubicBezTo>
                  <a:close/>
                  <a:moveTo>
                    <a:pt x="22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298"/>
                  </a:lnTo>
                  <a:close/>
                  <a:moveTo>
                    <a:pt x="214" y="106"/>
                  </a:moveTo>
                  <a:cubicBezTo>
                    <a:pt x="150" y="106"/>
                    <a:pt x="150" y="106"/>
                    <a:pt x="150" y="106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0"/>
                    <a:pt x="176" y="256"/>
                    <a:pt x="182" y="256"/>
                  </a:cubicBezTo>
                  <a:cubicBezTo>
                    <a:pt x="188" y="256"/>
                    <a:pt x="192" y="260"/>
                    <a:pt x="192" y="266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10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/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20" name="Freeform 885">
              <a:extLst>
                <a:ext uri="{FF2B5EF4-FFF2-40B4-BE49-F238E27FC236}">
                  <a16:creationId xmlns:a16="http://schemas.microsoft.com/office/drawing/2014/main" id="{E9D3555A-BF86-F69A-2D89-60E4B33B0A9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64270" y="4451588"/>
              <a:ext cx="238093" cy="288000"/>
            </a:xfrm>
            <a:custGeom>
              <a:avLst/>
              <a:gdLst>
                <a:gd name="T0" fmla="*/ 234 w 256"/>
                <a:gd name="T1" fmla="*/ 171 h 310"/>
                <a:gd name="T2" fmla="*/ 208 w 256"/>
                <a:gd name="T3" fmla="*/ 160 h 310"/>
                <a:gd name="T4" fmla="*/ 200 w 256"/>
                <a:gd name="T5" fmla="*/ 133 h 310"/>
                <a:gd name="T6" fmla="*/ 96 w 256"/>
                <a:gd name="T7" fmla="*/ 107 h 310"/>
                <a:gd name="T8" fmla="*/ 53 w 256"/>
                <a:gd name="T9" fmla="*/ 136 h 310"/>
                <a:gd name="T10" fmla="*/ 32 w 256"/>
                <a:gd name="T11" fmla="*/ 160 h 310"/>
                <a:gd name="T12" fmla="*/ 25 w 256"/>
                <a:gd name="T13" fmla="*/ 179 h 310"/>
                <a:gd name="T14" fmla="*/ 0 w 256"/>
                <a:gd name="T15" fmla="*/ 245 h 310"/>
                <a:gd name="T16" fmla="*/ 10 w 256"/>
                <a:gd name="T17" fmla="*/ 265 h 310"/>
                <a:gd name="T18" fmla="*/ 21 w 256"/>
                <a:gd name="T19" fmla="*/ 310 h 310"/>
                <a:gd name="T20" fmla="*/ 74 w 256"/>
                <a:gd name="T21" fmla="*/ 299 h 310"/>
                <a:gd name="T22" fmla="*/ 128 w 256"/>
                <a:gd name="T23" fmla="*/ 288 h 310"/>
                <a:gd name="T24" fmla="*/ 181 w 256"/>
                <a:gd name="T25" fmla="*/ 299 h 310"/>
                <a:gd name="T26" fmla="*/ 234 w 256"/>
                <a:gd name="T27" fmla="*/ 310 h 310"/>
                <a:gd name="T28" fmla="*/ 245 w 256"/>
                <a:gd name="T29" fmla="*/ 265 h 310"/>
                <a:gd name="T30" fmla="*/ 256 w 256"/>
                <a:gd name="T31" fmla="*/ 245 h 310"/>
                <a:gd name="T32" fmla="*/ 230 w 256"/>
                <a:gd name="T33" fmla="*/ 179 h 310"/>
                <a:gd name="T34" fmla="*/ 160 w 256"/>
                <a:gd name="T35" fmla="*/ 128 h 310"/>
                <a:gd name="T36" fmla="*/ 189 w 256"/>
                <a:gd name="T37" fmla="*/ 171 h 310"/>
                <a:gd name="T38" fmla="*/ 73 w 256"/>
                <a:gd name="T39" fmla="*/ 144 h 310"/>
                <a:gd name="T40" fmla="*/ 53 w 256"/>
                <a:gd name="T41" fmla="*/ 288 h 310"/>
                <a:gd name="T42" fmla="*/ 32 w 256"/>
                <a:gd name="T43" fmla="*/ 277 h 310"/>
                <a:gd name="T44" fmla="*/ 53 w 256"/>
                <a:gd name="T45" fmla="*/ 288 h 310"/>
                <a:gd name="T46" fmla="*/ 21 w 256"/>
                <a:gd name="T47" fmla="*/ 224 h 310"/>
                <a:gd name="T48" fmla="*/ 202 w 256"/>
                <a:gd name="T49" fmla="*/ 192 h 310"/>
                <a:gd name="T50" fmla="*/ 234 w 256"/>
                <a:gd name="T51" fmla="*/ 245 h 310"/>
                <a:gd name="T52" fmla="*/ 21 w 256"/>
                <a:gd name="T53" fmla="*/ 245 h 310"/>
                <a:gd name="T54" fmla="*/ 202 w 256"/>
                <a:gd name="T55" fmla="*/ 288 h 310"/>
                <a:gd name="T56" fmla="*/ 224 w 256"/>
                <a:gd name="T57" fmla="*/ 277 h 310"/>
                <a:gd name="T58" fmla="*/ 160 w 256"/>
                <a:gd name="T59" fmla="*/ 224 h 310"/>
                <a:gd name="T60" fmla="*/ 106 w 256"/>
                <a:gd name="T61" fmla="*/ 235 h 310"/>
                <a:gd name="T62" fmla="*/ 106 w 256"/>
                <a:gd name="T63" fmla="*/ 214 h 310"/>
                <a:gd name="T64" fmla="*/ 160 w 256"/>
                <a:gd name="T65" fmla="*/ 224 h 310"/>
                <a:gd name="T66" fmla="*/ 57 w 256"/>
                <a:gd name="T67" fmla="*/ 239 h 310"/>
                <a:gd name="T68" fmla="*/ 57 w 256"/>
                <a:gd name="T69" fmla="*/ 218 h 310"/>
                <a:gd name="T70" fmla="*/ 208 w 256"/>
                <a:gd name="T71" fmla="*/ 228 h 310"/>
                <a:gd name="T72" fmla="*/ 188 w 256"/>
                <a:gd name="T73" fmla="*/ 228 h 310"/>
                <a:gd name="T74" fmla="*/ 208 w 256"/>
                <a:gd name="T75" fmla="*/ 228 h 310"/>
                <a:gd name="T76" fmla="*/ 13 w 256"/>
                <a:gd name="T77" fmla="*/ 55 h 310"/>
                <a:gd name="T78" fmla="*/ 242 w 256"/>
                <a:gd name="T79" fmla="*/ 55 h 310"/>
                <a:gd name="T80" fmla="*/ 226 w 256"/>
                <a:gd name="T81" fmla="*/ 69 h 310"/>
                <a:gd name="T82" fmla="*/ 29 w 256"/>
                <a:gd name="T83" fmla="*/ 69 h 310"/>
                <a:gd name="T84" fmla="*/ 14 w 256"/>
                <a:gd name="T85" fmla="*/ 70 h 310"/>
                <a:gd name="T86" fmla="*/ 211 w 256"/>
                <a:gd name="T87" fmla="*/ 104 h 310"/>
                <a:gd name="T88" fmla="*/ 128 w 256"/>
                <a:gd name="T89" fmla="*/ 70 h 310"/>
                <a:gd name="T90" fmla="*/ 51 w 256"/>
                <a:gd name="T91" fmla="*/ 107 h 310"/>
                <a:gd name="T92" fmla="*/ 43 w 256"/>
                <a:gd name="T93" fmla="*/ 89 h 310"/>
                <a:gd name="T94" fmla="*/ 212 w 256"/>
                <a:gd name="T95" fmla="*/ 8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" h="310">
                  <a:moveTo>
                    <a:pt x="230" y="179"/>
                  </a:moveTo>
                  <a:cubicBezTo>
                    <a:pt x="233" y="177"/>
                    <a:pt x="234" y="175"/>
                    <a:pt x="234" y="171"/>
                  </a:cubicBezTo>
                  <a:cubicBezTo>
                    <a:pt x="234" y="165"/>
                    <a:pt x="230" y="160"/>
                    <a:pt x="224" y="160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35"/>
                    <a:pt x="201" y="134"/>
                    <a:pt x="200" y="133"/>
                  </a:cubicBezTo>
                  <a:cubicBezTo>
                    <a:pt x="198" y="130"/>
                    <a:pt x="180" y="107"/>
                    <a:pt x="160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75" y="107"/>
                    <a:pt x="57" y="130"/>
                    <a:pt x="55" y="133"/>
                  </a:cubicBezTo>
                  <a:cubicBezTo>
                    <a:pt x="54" y="134"/>
                    <a:pt x="54" y="135"/>
                    <a:pt x="53" y="136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26" y="160"/>
                    <a:pt x="21" y="165"/>
                    <a:pt x="21" y="171"/>
                  </a:cubicBezTo>
                  <a:cubicBezTo>
                    <a:pt x="21" y="175"/>
                    <a:pt x="23" y="177"/>
                    <a:pt x="25" y="179"/>
                  </a:cubicBezTo>
                  <a:cubicBezTo>
                    <a:pt x="10" y="189"/>
                    <a:pt x="0" y="206"/>
                    <a:pt x="0" y="224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48"/>
                    <a:pt x="0" y="255"/>
                    <a:pt x="6" y="262"/>
                  </a:cubicBezTo>
                  <a:cubicBezTo>
                    <a:pt x="8" y="263"/>
                    <a:pt x="9" y="264"/>
                    <a:pt x="10" y="265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5"/>
                    <a:pt x="15" y="310"/>
                    <a:pt x="21" y="310"/>
                  </a:cubicBezTo>
                  <a:cubicBezTo>
                    <a:pt x="64" y="310"/>
                    <a:pt x="64" y="310"/>
                    <a:pt x="64" y="310"/>
                  </a:cubicBezTo>
                  <a:cubicBezTo>
                    <a:pt x="70" y="310"/>
                    <a:pt x="74" y="305"/>
                    <a:pt x="74" y="299"/>
                  </a:cubicBezTo>
                  <a:cubicBezTo>
                    <a:pt x="74" y="286"/>
                    <a:pt x="74" y="286"/>
                    <a:pt x="74" y="286"/>
                  </a:cubicBezTo>
                  <a:cubicBezTo>
                    <a:pt x="90" y="287"/>
                    <a:pt x="107" y="288"/>
                    <a:pt x="128" y="288"/>
                  </a:cubicBezTo>
                  <a:cubicBezTo>
                    <a:pt x="148" y="288"/>
                    <a:pt x="165" y="287"/>
                    <a:pt x="181" y="286"/>
                  </a:cubicBezTo>
                  <a:cubicBezTo>
                    <a:pt x="181" y="299"/>
                    <a:pt x="181" y="299"/>
                    <a:pt x="181" y="299"/>
                  </a:cubicBezTo>
                  <a:cubicBezTo>
                    <a:pt x="181" y="305"/>
                    <a:pt x="186" y="310"/>
                    <a:pt x="192" y="310"/>
                  </a:cubicBezTo>
                  <a:cubicBezTo>
                    <a:pt x="234" y="310"/>
                    <a:pt x="234" y="310"/>
                    <a:pt x="234" y="310"/>
                  </a:cubicBezTo>
                  <a:cubicBezTo>
                    <a:pt x="240" y="310"/>
                    <a:pt x="245" y="305"/>
                    <a:pt x="245" y="299"/>
                  </a:cubicBezTo>
                  <a:cubicBezTo>
                    <a:pt x="245" y="265"/>
                    <a:pt x="245" y="265"/>
                    <a:pt x="245" y="265"/>
                  </a:cubicBezTo>
                  <a:cubicBezTo>
                    <a:pt x="246" y="264"/>
                    <a:pt x="248" y="263"/>
                    <a:pt x="249" y="262"/>
                  </a:cubicBezTo>
                  <a:cubicBezTo>
                    <a:pt x="255" y="255"/>
                    <a:pt x="256" y="248"/>
                    <a:pt x="256" y="245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56" y="206"/>
                    <a:pt x="245" y="189"/>
                    <a:pt x="230" y="179"/>
                  </a:cubicBezTo>
                  <a:close/>
                  <a:moveTo>
                    <a:pt x="96" y="128"/>
                  </a:moveTo>
                  <a:cubicBezTo>
                    <a:pt x="160" y="128"/>
                    <a:pt x="160" y="128"/>
                    <a:pt x="160" y="128"/>
                  </a:cubicBezTo>
                  <a:cubicBezTo>
                    <a:pt x="166" y="128"/>
                    <a:pt x="176" y="137"/>
                    <a:pt x="182" y="144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3" y="144"/>
                    <a:pt x="73" y="144"/>
                    <a:pt x="73" y="144"/>
                  </a:cubicBezTo>
                  <a:cubicBezTo>
                    <a:pt x="79" y="137"/>
                    <a:pt x="89" y="128"/>
                    <a:pt x="96" y="128"/>
                  </a:cubicBezTo>
                  <a:close/>
                  <a:moveTo>
                    <a:pt x="53" y="288"/>
                  </a:moveTo>
                  <a:cubicBezTo>
                    <a:pt x="32" y="288"/>
                    <a:pt x="32" y="288"/>
                    <a:pt x="32" y="288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8" y="279"/>
                    <a:pt x="45" y="281"/>
                    <a:pt x="53" y="282"/>
                  </a:cubicBezTo>
                  <a:lnTo>
                    <a:pt x="53" y="288"/>
                  </a:lnTo>
                  <a:close/>
                  <a:moveTo>
                    <a:pt x="21" y="245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208"/>
                    <a:pt x="37" y="192"/>
                    <a:pt x="53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219" y="192"/>
                    <a:pt x="234" y="208"/>
                    <a:pt x="234" y="224"/>
                  </a:cubicBezTo>
                  <a:cubicBezTo>
                    <a:pt x="234" y="245"/>
                    <a:pt x="234" y="245"/>
                    <a:pt x="234" y="245"/>
                  </a:cubicBezTo>
                  <a:cubicBezTo>
                    <a:pt x="233" y="247"/>
                    <a:pt x="222" y="267"/>
                    <a:pt x="128" y="267"/>
                  </a:cubicBezTo>
                  <a:cubicBezTo>
                    <a:pt x="34" y="267"/>
                    <a:pt x="22" y="247"/>
                    <a:pt x="21" y="245"/>
                  </a:cubicBezTo>
                  <a:close/>
                  <a:moveTo>
                    <a:pt x="224" y="288"/>
                  </a:moveTo>
                  <a:cubicBezTo>
                    <a:pt x="202" y="288"/>
                    <a:pt x="202" y="288"/>
                    <a:pt x="202" y="288"/>
                  </a:cubicBezTo>
                  <a:cubicBezTo>
                    <a:pt x="202" y="282"/>
                    <a:pt x="202" y="282"/>
                    <a:pt x="202" y="282"/>
                  </a:cubicBezTo>
                  <a:cubicBezTo>
                    <a:pt x="210" y="281"/>
                    <a:pt x="217" y="279"/>
                    <a:pt x="224" y="277"/>
                  </a:cubicBezTo>
                  <a:lnTo>
                    <a:pt x="224" y="288"/>
                  </a:lnTo>
                  <a:close/>
                  <a:moveTo>
                    <a:pt x="160" y="224"/>
                  </a:moveTo>
                  <a:cubicBezTo>
                    <a:pt x="160" y="230"/>
                    <a:pt x="155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30"/>
                    <a:pt x="96" y="224"/>
                  </a:cubicBezTo>
                  <a:cubicBezTo>
                    <a:pt x="96" y="218"/>
                    <a:pt x="100" y="214"/>
                    <a:pt x="106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55" y="214"/>
                    <a:pt x="160" y="218"/>
                    <a:pt x="160" y="224"/>
                  </a:cubicBezTo>
                  <a:close/>
                  <a:moveTo>
                    <a:pt x="67" y="228"/>
                  </a:moveTo>
                  <a:cubicBezTo>
                    <a:pt x="67" y="234"/>
                    <a:pt x="63" y="239"/>
                    <a:pt x="57" y="239"/>
                  </a:cubicBezTo>
                  <a:cubicBezTo>
                    <a:pt x="52" y="239"/>
                    <a:pt x="47" y="234"/>
                    <a:pt x="47" y="228"/>
                  </a:cubicBezTo>
                  <a:cubicBezTo>
                    <a:pt x="47" y="223"/>
                    <a:pt x="52" y="218"/>
                    <a:pt x="57" y="218"/>
                  </a:cubicBezTo>
                  <a:cubicBezTo>
                    <a:pt x="63" y="218"/>
                    <a:pt x="67" y="223"/>
                    <a:pt x="67" y="228"/>
                  </a:cubicBezTo>
                  <a:close/>
                  <a:moveTo>
                    <a:pt x="208" y="228"/>
                  </a:moveTo>
                  <a:cubicBezTo>
                    <a:pt x="208" y="234"/>
                    <a:pt x="204" y="239"/>
                    <a:pt x="198" y="239"/>
                  </a:cubicBezTo>
                  <a:cubicBezTo>
                    <a:pt x="193" y="239"/>
                    <a:pt x="188" y="234"/>
                    <a:pt x="188" y="228"/>
                  </a:cubicBezTo>
                  <a:cubicBezTo>
                    <a:pt x="188" y="223"/>
                    <a:pt x="193" y="218"/>
                    <a:pt x="198" y="218"/>
                  </a:cubicBezTo>
                  <a:cubicBezTo>
                    <a:pt x="204" y="218"/>
                    <a:pt x="208" y="223"/>
                    <a:pt x="208" y="228"/>
                  </a:cubicBezTo>
                  <a:close/>
                  <a:moveTo>
                    <a:pt x="14" y="70"/>
                  </a:moveTo>
                  <a:cubicBezTo>
                    <a:pt x="10" y="66"/>
                    <a:pt x="9" y="60"/>
                    <a:pt x="13" y="55"/>
                  </a:cubicBezTo>
                  <a:cubicBezTo>
                    <a:pt x="43" y="20"/>
                    <a:pt x="84" y="0"/>
                    <a:pt x="128" y="0"/>
                  </a:cubicBezTo>
                  <a:cubicBezTo>
                    <a:pt x="171" y="0"/>
                    <a:pt x="212" y="20"/>
                    <a:pt x="242" y="55"/>
                  </a:cubicBezTo>
                  <a:cubicBezTo>
                    <a:pt x="246" y="60"/>
                    <a:pt x="246" y="66"/>
                    <a:pt x="241" y="70"/>
                  </a:cubicBezTo>
                  <a:cubicBezTo>
                    <a:pt x="237" y="74"/>
                    <a:pt x="230" y="74"/>
                    <a:pt x="226" y="69"/>
                  </a:cubicBezTo>
                  <a:cubicBezTo>
                    <a:pt x="200" y="39"/>
                    <a:pt x="165" y="22"/>
                    <a:pt x="128" y="22"/>
                  </a:cubicBezTo>
                  <a:cubicBezTo>
                    <a:pt x="90" y="22"/>
                    <a:pt x="55" y="39"/>
                    <a:pt x="29" y="69"/>
                  </a:cubicBezTo>
                  <a:cubicBezTo>
                    <a:pt x="27" y="72"/>
                    <a:pt x="24" y="73"/>
                    <a:pt x="21" y="73"/>
                  </a:cubicBezTo>
                  <a:cubicBezTo>
                    <a:pt x="19" y="73"/>
                    <a:pt x="16" y="72"/>
                    <a:pt x="14" y="70"/>
                  </a:cubicBezTo>
                  <a:close/>
                  <a:moveTo>
                    <a:pt x="212" y="89"/>
                  </a:moveTo>
                  <a:cubicBezTo>
                    <a:pt x="216" y="94"/>
                    <a:pt x="215" y="101"/>
                    <a:pt x="211" y="104"/>
                  </a:cubicBezTo>
                  <a:cubicBezTo>
                    <a:pt x="206" y="108"/>
                    <a:pt x="200" y="108"/>
                    <a:pt x="196" y="103"/>
                  </a:cubicBezTo>
                  <a:cubicBezTo>
                    <a:pt x="178" y="82"/>
                    <a:pt x="153" y="70"/>
                    <a:pt x="128" y="70"/>
                  </a:cubicBezTo>
                  <a:cubicBezTo>
                    <a:pt x="102" y="70"/>
                    <a:pt x="78" y="82"/>
                    <a:pt x="60" y="103"/>
                  </a:cubicBezTo>
                  <a:cubicBezTo>
                    <a:pt x="57" y="106"/>
                    <a:pt x="54" y="107"/>
                    <a:pt x="51" y="107"/>
                  </a:cubicBezTo>
                  <a:cubicBezTo>
                    <a:pt x="49" y="107"/>
                    <a:pt x="47" y="106"/>
                    <a:pt x="45" y="104"/>
                  </a:cubicBezTo>
                  <a:cubicBezTo>
                    <a:pt x="40" y="101"/>
                    <a:pt x="40" y="94"/>
                    <a:pt x="43" y="89"/>
                  </a:cubicBezTo>
                  <a:cubicBezTo>
                    <a:pt x="66" y="63"/>
                    <a:pt x="96" y="49"/>
                    <a:pt x="128" y="49"/>
                  </a:cubicBezTo>
                  <a:cubicBezTo>
                    <a:pt x="160" y="49"/>
                    <a:pt x="190" y="63"/>
                    <a:pt x="212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121" name="Freeform 460">
              <a:extLst>
                <a:ext uri="{FF2B5EF4-FFF2-40B4-BE49-F238E27FC236}">
                  <a16:creationId xmlns:a16="http://schemas.microsoft.com/office/drawing/2014/main" id="{6D81C08B-4501-F235-9964-2838D4F62A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5578" y="4531047"/>
              <a:ext cx="180000" cy="216000"/>
            </a:xfrm>
            <a:custGeom>
              <a:avLst/>
              <a:gdLst>
                <a:gd name="T0" fmla="*/ 224 w 234"/>
                <a:gd name="T1" fmla="*/ 0 h 299"/>
                <a:gd name="T2" fmla="*/ 10 w 234"/>
                <a:gd name="T3" fmla="*/ 0 h 299"/>
                <a:gd name="T4" fmla="*/ 0 w 234"/>
                <a:gd name="T5" fmla="*/ 11 h 299"/>
                <a:gd name="T6" fmla="*/ 0 w 234"/>
                <a:gd name="T7" fmla="*/ 288 h 299"/>
                <a:gd name="T8" fmla="*/ 10 w 234"/>
                <a:gd name="T9" fmla="*/ 299 h 299"/>
                <a:gd name="T10" fmla="*/ 224 w 234"/>
                <a:gd name="T11" fmla="*/ 299 h 299"/>
                <a:gd name="T12" fmla="*/ 234 w 234"/>
                <a:gd name="T13" fmla="*/ 288 h 299"/>
                <a:gd name="T14" fmla="*/ 234 w 234"/>
                <a:gd name="T15" fmla="*/ 11 h 299"/>
                <a:gd name="T16" fmla="*/ 224 w 234"/>
                <a:gd name="T17" fmla="*/ 0 h 299"/>
                <a:gd name="T18" fmla="*/ 213 w 234"/>
                <a:gd name="T19" fmla="*/ 277 h 299"/>
                <a:gd name="T20" fmla="*/ 21 w 234"/>
                <a:gd name="T21" fmla="*/ 277 h 299"/>
                <a:gd name="T22" fmla="*/ 21 w 234"/>
                <a:gd name="T23" fmla="*/ 21 h 299"/>
                <a:gd name="T24" fmla="*/ 213 w 234"/>
                <a:gd name="T25" fmla="*/ 21 h 299"/>
                <a:gd name="T26" fmla="*/ 213 w 234"/>
                <a:gd name="T27" fmla="*/ 277 h 299"/>
                <a:gd name="T28" fmla="*/ 128 w 234"/>
                <a:gd name="T29" fmla="*/ 245 h 299"/>
                <a:gd name="T30" fmla="*/ 117 w 234"/>
                <a:gd name="T31" fmla="*/ 256 h 299"/>
                <a:gd name="T32" fmla="*/ 106 w 234"/>
                <a:gd name="T33" fmla="*/ 245 h 299"/>
                <a:gd name="T34" fmla="*/ 117 w 234"/>
                <a:gd name="T35" fmla="*/ 235 h 299"/>
                <a:gd name="T36" fmla="*/ 128 w 234"/>
                <a:gd name="T37" fmla="*/ 245 h 299"/>
                <a:gd name="T38" fmla="*/ 42 w 234"/>
                <a:gd name="T39" fmla="*/ 213 h 299"/>
                <a:gd name="T40" fmla="*/ 192 w 234"/>
                <a:gd name="T41" fmla="*/ 213 h 299"/>
                <a:gd name="T42" fmla="*/ 202 w 234"/>
                <a:gd name="T43" fmla="*/ 203 h 299"/>
                <a:gd name="T44" fmla="*/ 202 w 234"/>
                <a:gd name="T45" fmla="*/ 43 h 299"/>
                <a:gd name="T46" fmla="*/ 192 w 234"/>
                <a:gd name="T47" fmla="*/ 32 h 299"/>
                <a:gd name="T48" fmla="*/ 42 w 234"/>
                <a:gd name="T49" fmla="*/ 32 h 299"/>
                <a:gd name="T50" fmla="*/ 32 w 234"/>
                <a:gd name="T51" fmla="*/ 43 h 299"/>
                <a:gd name="T52" fmla="*/ 32 w 234"/>
                <a:gd name="T53" fmla="*/ 203 h 299"/>
                <a:gd name="T54" fmla="*/ 42 w 234"/>
                <a:gd name="T55" fmla="*/ 213 h 299"/>
                <a:gd name="T56" fmla="*/ 53 w 234"/>
                <a:gd name="T57" fmla="*/ 53 h 299"/>
                <a:gd name="T58" fmla="*/ 181 w 234"/>
                <a:gd name="T59" fmla="*/ 53 h 299"/>
                <a:gd name="T60" fmla="*/ 181 w 234"/>
                <a:gd name="T61" fmla="*/ 192 h 299"/>
                <a:gd name="T62" fmla="*/ 53 w 234"/>
                <a:gd name="T63" fmla="*/ 192 h 299"/>
                <a:gd name="T64" fmla="*/ 53 w 234"/>
                <a:gd name="T65" fmla="*/ 5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99">
                  <a:moveTo>
                    <a:pt x="22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4" y="299"/>
                    <a:pt x="10" y="299"/>
                  </a:cubicBezTo>
                  <a:cubicBezTo>
                    <a:pt x="224" y="299"/>
                    <a:pt x="224" y="299"/>
                    <a:pt x="224" y="299"/>
                  </a:cubicBezTo>
                  <a:cubicBezTo>
                    <a:pt x="230" y="299"/>
                    <a:pt x="234" y="294"/>
                    <a:pt x="234" y="288"/>
                  </a:cubicBezTo>
                  <a:cubicBezTo>
                    <a:pt x="234" y="11"/>
                    <a:pt x="234" y="11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lose/>
                  <a:moveTo>
                    <a:pt x="213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lnTo>
                    <a:pt x="213" y="277"/>
                  </a:lnTo>
                  <a:close/>
                  <a:moveTo>
                    <a:pt x="128" y="245"/>
                  </a:moveTo>
                  <a:cubicBezTo>
                    <a:pt x="128" y="251"/>
                    <a:pt x="123" y="256"/>
                    <a:pt x="117" y="256"/>
                  </a:cubicBezTo>
                  <a:cubicBezTo>
                    <a:pt x="111" y="256"/>
                    <a:pt x="106" y="251"/>
                    <a:pt x="106" y="245"/>
                  </a:cubicBezTo>
                  <a:cubicBezTo>
                    <a:pt x="106" y="239"/>
                    <a:pt x="111" y="235"/>
                    <a:pt x="117" y="235"/>
                  </a:cubicBezTo>
                  <a:cubicBezTo>
                    <a:pt x="123" y="235"/>
                    <a:pt x="128" y="239"/>
                    <a:pt x="128" y="245"/>
                  </a:cubicBezTo>
                  <a:close/>
                  <a:moveTo>
                    <a:pt x="42" y="213"/>
                  </a:moveTo>
                  <a:cubicBezTo>
                    <a:pt x="192" y="213"/>
                    <a:pt x="192" y="213"/>
                    <a:pt x="192" y="213"/>
                  </a:cubicBezTo>
                  <a:cubicBezTo>
                    <a:pt x="198" y="213"/>
                    <a:pt x="202" y="209"/>
                    <a:pt x="202" y="203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02" y="37"/>
                    <a:pt x="198" y="32"/>
                    <a:pt x="19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36" y="32"/>
                    <a:pt x="32" y="37"/>
                    <a:pt x="32" y="43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9"/>
                    <a:pt x="36" y="213"/>
                    <a:pt x="42" y="213"/>
                  </a:cubicBezTo>
                  <a:close/>
                  <a:moveTo>
                    <a:pt x="53" y="53"/>
                  </a:moveTo>
                  <a:cubicBezTo>
                    <a:pt x="181" y="53"/>
                    <a:pt x="181" y="53"/>
                    <a:pt x="181" y="53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53" y="192"/>
                    <a:pt x="53" y="192"/>
                    <a:pt x="53" y="192"/>
                  </a:cubicBezTo>
                  <a:lnTo>
                    <a:pt x="5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132" name="Rectangle 131">
            <a:extLst>
              <a:ext uri="{FF2B5EF4-FFF2-40B4-BE49-F238E27FC236}">
                <a16:creationId xmlns:a16="http://schemas.microsoft.com/office/drawing/2014/main" id="{D61E4502-4FDC-DDF9-B95A-82061963D72A}"/>
              </a:ext>
            </a:extLst>
          </p:cNvPr>
          <p:cNvSpPr/>
          <p:nvPr/>
        </p:nvSpPr>
        <p:spPr>
          <a:xfrm>
            <a:off x="1538227" y="3855220"/>
            <a:ext cx="2160000" cy="250162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rgbClr val="0097A9"/>
                </a:solidFill>
                <a:cs typeface="Calibri" panose="020F0502020204030204" pitchFamily="34" charset="0"/>
              </a:rPr>
              <a:t>Dodavatelé Žadatele</a:t>
            </a:r>
          </a:p>
        </p:txBody>
      </p:sp>
      <p:sp>
        <p:nvSpPr>
          <p:cNvPr id="133" name="Freeform 761">
            <a:extLst>
              <a:ext uri="{FF2B5EF4-FFF2-40B4-BE49-F238E27FC236}">
                <a16:creationId xmlns:a16="http://schemas.microsoft.com/office/drawing/2014/main" id="{94E756E2-5A2B-4D8A-6181-BB66E3FC9B59}"/>
              </a:ext>
            </a:extLst>
          </p:cNvPr>
          <p:cNvSpPr>
            <a:spLocks noEditPoints="1"/>
          </p:cNvSpPr>
          <p:nvPr/>
        </p:nvSpPr>
        <p:spPr bwMode="auto">
          <a:xfrm>
            <a:off x="864633" y="3921959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34" name="Freeform 761">
            <a:extLst>
              <a:ext uri="{FF2B5EF4-FFF2-40B4-BE49-F238E27FC236}">
                <a16:creationId xmlns:a16="http://schemas.microsoft.com/office/drawing/2014/main" id="{EE9D99D0-A947-4011-7221-26E150812AE9}"/>
              </a:ext>
            </a:extLst>
          </p:cNvPr>
          <p:cNvSpPr>
            <a:spLocks noEditPoints="1"/>
          </p:cNvSpPr>
          <p:nvPr/>
        </p:nvSpPr>
        <p:spPr bwMode="auto">
          <a:xfrm>
            <a:off x="1087371" y="3927641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1E7F129B-B3BD-95F0-7D5B-D3B95A52519F}"/>
              </a:ext>
            </a:extLst>
          </p:cNvPr>
          <p:cNvSpPr/>
          <p:nvPr/>
        </p:nvSpPr>
        <p:spPr>
          <a:xfrm>
            <a:off x="3870225" y="1112219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Na základě pověření Ministerstva dopravy ČR provozuje Centrální prvky C-ITS ŘSD ČR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Zajišťuje procesní část registrace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FD4189E-A9D6-DC9F-1E4F-883D90DE6EDF}"/>
              </a:ext>
            </a:extLst>
          </p:cNvPr>
          <p:cNvSpPr/>
          <p:nvPr/>
        </p:nvSpPr>
        <p:spPr>
          <a:xfrm>
            <a:off x="3845350" y="1989736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Centrální prvky C-ITS jsou zajištěny formou externí služby. Poskytovatelem této služby je INTENS a </a:t>
            </a:r>
            <a:r>
              <a:rPr lang="cs-CZ" sz="1600" i="1" dirty="0" err="1">
                <a:latin typeface="Calibri" panose="020F0502020204030204" pitchFamily="34" charset="0"/>
                <a:cs typeface="Calibri" panose="020F0502020204030204" pitchFamily="34" charset="0"/>
              </a:rPr>
              <a:t>TeskaLabs</a:t>
            </a: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Zajišťuje technickou část registrace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225F425A-FC0C-EB95-2787-E61016F9A8B5}"/>
              </a:ext>
            </a:extLst>
          </p:cNvPr>
          <p:cNvSpPr/>
          <p:nvPr/>
        </p:nvSpPr>
        <p:spPr>
          <a:xfrm>
            <a:off x="3845349" y="3134766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Vlastník C-ITS systému, který žádá o připojení k Centrálním prvkům C-ITS.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7C12DA7-95D8-0FA5-A70F-A43EF80D66ED}"/>
              </a:ext>
            </a:extLst>
          </p:cNvPr>
          <p:cNvSpPr/>
          <p:nvPr/>
        </p:nvSpPr>
        <p:spPr>
          <a:xfrm>
            <a:off x="3845348" y="3833508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Dodavatelé či provozovatelé C-ITS systému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Nejsou žadatelem, pokud mají přístup k osobním údajům, tak je s nimi ošetřován vztah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9A9CF89-82E5-AADA-795A-3E6270C351A8}"/>
              </a:ext>
            </a:extLst>
          </p:cNvPr>
          <p:cNvSpPr/>
          <p:nvPr/>
        </p:nvSpPr>
        <p:spPr>
          <a:xfrm>
            <a:off x="3830380" y="4798488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Subjekty splňující podmínky Centrálních prvků C-ITS, které jsou k nim napojeny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1" name="Group 979">
            <a:extLst>
              <a:ext uri="{FF2B5EF4-FFF2-40B4-BE49-F238E27FC236}">
                <a16:creationId xmlns:a16="http://schemas.microsoft.com/office/drawing/2014/main" id="{C2E90E40-1B24-4EEB-EFC1-87EDCA16A70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85997" y="5632423"/>
            <a:ext cx="321162" cy="288000"/>
            <a:chOff x="2110" y="4320"/>
            <a:chExt cx="184" cy="165"/>
          </a:xfrm>
          <a:solidFill>
            <a:srgbClr val="002060"/>
          </a:solidFill>
        </p:grpSpPr>
        <p:sp>
          <p:nvSpPr>
            <p:cNvPr id="142" name="Freeform 981">
              <a:extLst>
                <a:ext uri="{FF2B5EF4-FFF2-40B4-BE49-F238E27FC236}">
                  <a16:creationId xmlns:a16="http://schemas.microsoft.com/office/drawing/2014/main" id="{4EA11633-2150-CC09-63BF-F3DF34368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143" name="Freeform 982">
              <a:extLst>
                <a:ext uri="{FF2B5EF4-FFF2-40B4-BE49-F238E27FC236}">
                  <a16:creationId xmlns:a16="http://schemas.microsoft.com/office/drawing/2014/main" id="{84AFC1E3-026E-1AD1-695C-309F95E87D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144" name="Rectangle 143">
            <a:extLst>
              <a:ext uri="{FF2B5EF4-FFF2-40B4-BE49-F238E27FC236}">
                <a16:creationId xmlns:a16="http://schemas.microsoft.com/office/drawing/2014/main" id="{FE628FDE-8D03-691A-62A9-2A6EA1FEBDC8}"/>
              </a:ext>
            </a:extLst>
          </p:cNvPr>
          <p:cNvSpPr/>
          <p:nvPr/>
        </p:nvSpPr>
        <p:spPr>
          <a:xfrm>
            <a:off x="1538226" y="5596477"/>
            <a:ext cx="2160000" cy="444267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</a:pPr>
            <a:r>
              <a:rPr lang="cs-CZ" sz="1600" b="1" dirty="0">
                <a:solidFill>
                  <a:srgbClr val="012169"/>
                </a:solidFill>
                <a:cs typeface="Calibri" panose="020F0502020204030204" pitchFamily="34" charset="0"/>
              </a:rPr>
              <a:t>Kontrolní subjekt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7FEAD64D-87A4-F920-091A-CD40FB5A40AB}"/>
              </a:ext>
            </a:extLst>
          </p:cNvPr>
          <p:cNvSpPr/>
          <p:nvPr/>
        </p:nvSpPr>
        <p:spPr>
          <a:xfrm>
            <a:off x="3830380" y="5587888"/>
            <a:ext cx="7740000" cy="583090"/>
          </a:xfrm>
          <a:prstGeom prst="rect">
            <a:avLst/>
          </a:prstGeom>
          <a:noFill/>
        </p:spPr>
        <p:txBody>
          <a:bodyPr wrap="square" lIns="36000" tIns="36000" rIns="36000" bIns="36000">
            <a:noAutofit/>
          </a:bodyPr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Subjekt, který ověřuje soulad s podmínkami provozovatele Centrálních prvků C-ITS.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1600" i="1" dirty="0">
                <a:latin typeface="Calibri" panose="020F0502020204030204" pitchFamily="34" charset="0"/>
                <a:cs typeface="Calibri" panose="020F0502020204030204" pitchFamily="34" charset="0"/>
              </a:rPr>
              <a:t>K 12/2022 není jmenován, je v přípravě.  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cs-CZ" sz="16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6" name="Rounded Rectangle 93">
            <a:extLst>
              <a:ext uri="{FF2B5EF4-FFF2-40B4-BE49-F238E27FC236}">
                <a16:creationId xmlns:a16="http://schemas.microsoft.com/office/drawing/2014/main" id="{E3F02C21-7FB9-DBA7-8A9D-46CC97DCDD38}"/>
              </a:ext>
            </a:extLst>
          </p:cNvPr>
          <p:cNvSpPr/>
          <p:nvPr/>
        </p:nvSpPr>
        <p:spPr bwMode="gray">
          <a:xfrm>
            <a:off x="336902" y="3073428"/>
            <a:ext cx="11353599" cy="2425166"/>
          </a:xfrm>
          <a:prstGeom prst="roundRect">
            <a:avLst>
              <a:gd name="adj" fmla="val 1003"/>
            </a:avLst>
          </a:prstGeom>
          <a:noFill/>
          <a:ln w="38100" cap="flat" cmpd="sng" algn="ctr">
            <a:solidFill>
              <a:srgbClr val="C00000"/>
            </a:solidFill>
            <a:prstDash val="lgDash"/>
            <a:miter lim="800000"/>
            <a:headEnd/>
            <a:tailEnd/>
          </a:ln>
          <a:effectLst/>
        </p:spPr>
        <p:txBody>
          <a:bodyPr wrap="square" lIns="66675" tIns="66675" rIns="66675" bIns="66675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487" marR="0" lvl="1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753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1A002B9-1CC0-978D-CD04-924CACEA3ABB}"/>
              </a:ext>
            </a:extLst>
          </p:cNvPr>
          <p:cNvSpPr/>
          <p:nvPr/>
        </p:nvSpPr>
        <p:spPr bwMode="gray">
          <a:xfrm>
            <a:off x="535847" y="1353590"/>
            <a:ext cx="5112000" cy="5031394"/>
          </a:xfrm>
          <a:prstGeom prst="roundRect">
            <a:avLst>
              <a:gd name="adj" fmla="val 4176"/>
            </a:avLst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94" name="Title 3">
            <a:extLst>
              <a:ext uri="{FF2B5EF4-FFF2-40B4-BE49-F238E27FC236}">
                <a16:creationId xmlns:a16="http://schemas.microsoft.com/office/drawing/2014/main" id="{BDB1FD08-C688-D789-B3BB-56B43ED9BD5C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Klíčové dokumenty pro registrac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78C214-8596-6DAF-E968-80A70DE2ACA9}"/>
              </a:ext>
            </a:extLst>
          </p:cNvPr>
          <p:cNvSpPr txBox="1"/>
          <p:nvPr/>
        </p:nvSpPr>
        <p:spPr>
          <a:xfrm>
            <a:off x="740987" y="1582079"/>
            <a:ext cx="4558601" cy="729844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285750" lvl="1" indent="-285750"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cs-CZ" sz="1600" b="0" dirty="0"/>
              <a:t>Dokument, kterým je uzavřen smluvní vztah mezi Žadatelem a ŘSD </a:t>
            </a:r>
          </a:p>
        </p:txBody>
      </p:sp>
      <p:sp>
        <p:nvSpPr>
          <p:cNvPr id="3" name="Rounded Rectangle 35">
            <a:extLst>
              <a:ext uri="{FF2B5EF4-FFF2-40B4-BE49-F238E27FC236}">
                <a16:creationId xmlns:a16="http://schemas.microsoft.com/office/drawing/2014/main" id="{07E4EA0F-9A8A-7234-A02F-BB1BF9CD7B9F}"/>
              </a:ext>
            </a:extLst>
          </p:cNvPr>
          <p:cNvSpPr/>
          <p:nvPr/>
        </p:nvSpPr>
        <p:spPr bwMode="auto">
          <a:xfrm>
            <a:off x="683331" y="1176732"/>
            <a:ext cx="2160000" cy="360000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cs-CZ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strační formulář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ounded Rectangle 35">
            <a:extLst>
              <a:ext uri="{FF2B5EF4-FFF2-40B4-BE49-F238E27FC236}">
                <a16:creationId xmlns:a16="http://schemas.microsoft.com/office/drawing/2014/main" id="{F225E8BA-53FD-B734-FA92-C7B18A58DE60}"/>
              </a:ext>
            </a:extLst>
          </p:cNvPr>
          <p:cNvSpPr/>
          <p:nvPr/>
        </p:nvSpPr>
        <p:spPr bwMode="auto">
          <a:xfrm>
            <a:off x="683331" y="3223997"/>
            <a:ext cx="2484000" cy="36000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Doklad o existenci Žadatele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D9E54C0-C234-E33D-2246-D4AB269B2FE5}"/>
              </a:ext>
            </a:extLst>
          </p:cNvPr>
          <p:cNvSpPr txBox="1"/>
          <p:nvPr/>
        </p:nvSpPr>
        <p:spPr>
          <a:xfrm>
            <a:off x="683330" y="3602965"/>
            <a:ext cx="4930532" cy="542004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cs-CZ" sz="1600" b="0" dirty="0"/>
              <a:t>S celostátně uznávaná registrace, </a:t>
            </a:r>
            <a:r>
              <a:rPr lang="cs-CZ" sz="1600" dirty="0"/>
              <a:t>doklad od autorizovaného zdroje - </a:t>
            </a:r>
            <a:r>
              <a:rPr lang="cs-CZ" sz="1600" b="0" i="1" dirty="0"/>
              <a:t>př. Výpis z registru firem, opis zřizovací listiny</a:t>
            </a:r>
          </a:p>
          <a:p>
            <a:pPr lvl="1">
              <a:spcBef>
                <a:spcPts val="200"/>
              </a:spcBef>
              <a:spcAft>
                <a:spcPts val="200"/>
              </a:spcAft>
            </a:pPr>
            <a:endParaRPr lang="cs-CZ" sz="1600" b="0" i="1" dirty="0"/>
          </a:p>
        </p:txBody>
      </p:sp>
      <p:sp>
        <p:nvSpPr>
          <p:cNvPr id="6" name="Rounded Rectangle 35">
            <a:extLst>
              <a:ext uri="{FF2B5EF4-FFF2-40B4-BE49-F238E27FC236}">
                <a16:creationId xmlns:a16="http://schemas.microsoft.com/office/drawing/2014/main" id="{1C27C885-F0D0-A3B4-575C-7A96125A5BB8}"/>
              </a:ext>
            </a:extLst>
          </p:cNvPr>
          <p:cNvSpPr/>
          <p:nvPr/>
        </p:nvSpPr>
        <p:spPr bwMode="auto">
          <a:xfrm>
            <a:off x="683331" y="4580551"/>
            <a:ext cx="2484000" cy="36000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Technické požadavky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4BB0FD-5A99-C1D4-CB32-921C6D791FBE}"/>
              </a:ext>
            </a:extLst>
          </p:cNvPr>
          <p:cNvSpPr txBox="1"/>
          <p:nvPr/>
        </p:nvSpPr>
        <p:spPr>
          <a:xfrm>
            <a:off x="683331" y="5027964"/>
            <a:ext cx="3672000" cy="732341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cs-CZ" sz="1600" b="0" dirty="0"/>
              <a:t>Technické požadavky na C-ITS stanice</a:t>
            </a:r>
          </a:p>
          <a:p>
            <a: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</a:pPr>
            <a:r>
              <a:rPr lang="cs-CZ" sz="1600" b="0" dirty="0"/>
              <a:t>Technické požadavky na C-ITS služby</a:t>
            </a:r>
          </a:p>
        </p:txBody>
      </p:sp>
      <p:grpSp>
        <p:nvGrpSpPr>
          <p:cNvPr id="8" name="Group 243">
            <a:extLst>
              <a:ext uri="{FF2B5EF4-FFF2-40B4-BE49-F238E27FC236}">
                <a16:creationId xmlns:a16="http://schemas.microsoft.com/office/drawing/2014/main" id="{37D57B81-740A-50F8-23C6-2C27B0F15B1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8704" y="5593802"/>
            <a:ext cx="369021" cy="370106"/>
            <a:chOff x="3476" y="785"/>
            <a:chExt cx="340" cy="341"/>
          </a:xfrm>
          <a:solidFill>
            <a:schemeClr val="tx1"/>
          </a:solidFill>
        </p:grpSpPr>
        <p:sp>
          <p:nvSpPr>
            <p:cNvPr id="9" name="Freeform 244">
              <a:extLst>
                <a:ext uri="{FF2B5EF4-FFF2-40B4-BE49-F238E27FC236}">
                  <a16:creationId xmlns:a16="http://schemas.microsoft.com/office/drawing/2014/main" id="{C5182817-961D-8CEF-512B-DEBD59AFA1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888"/>
              <a:ext cx="214" cy="146"/>
            </a:xfrm>
            <a:custGeom>
              <a:avLst/>
              <a:gdLst>
                <a:gd name="T0" fmla="*/ 48 w 322"/>
                <a:gd name="T1" fmla="*/ 172 h 219"/>
                <a:gd name="T2" fmla="*/ 60 w 322"/>
                <a:gd name="T3" fmla="*/ 188 h 219"/>
                <a:gd name="T4" fmla="*/ 63 w 322"/>
                <a:gd name="T5" fmla="*/ 203 h 219"/>
                <a:gd name="T6" fmla="*/ 54 w 322"/>
                <a:gd name="T7" fmla="*/ 207 h 219"/>
                <a:gd name="T8" fmla="*/ 48 w 322"/>
                <a:gd name="T9" fmla="*/ 205 h 219"/>
                <a:gd name="T10" fmla="*/ 27 w 322"/>
                <a:gd name="T11" fmla="*/ 171 h 219"/>
                <a:gd name="T12" fmla="*/ 50 w 322"/>
                <a:gd name="T13" fmla="*/ 144 h 219"/>
                <a:gd name="T14" fmla="*/ 79 w 322"/>
                <a:gd name="T15" fmla="*/ 114 h 219"/>
                <a:gd name="T16" fmla="*/ 12 w 322"/>
                <a:gd name="T17" fmla="*/ 101 h 219"/>
                <a:gd name="T18" fmla="*/ 1 w 322"/>
                <a:gd name="T19" fmla="*/ 91 h 219"/>
                <a:gd name="T20" fmla="*/ 10 w 322"/>
                <a:gd name="T21" fmla="*/ 79 h 219"/>
                <a:gd name="T22" fmla="*/ 99 w 322"/>
                <a:gd name="T23" fmla="*/ 108 h 219"/>
                <a:gd name="T24" fmla="*/ 58 w 322"/>
                <a:gd name="T25" fmla="*/ 164 h 219"/>
                <a:gd name="T26" fmla="*/ 48 w 322"/>
                <a:gd name="T27" fmla="*/ 172 h 219"/>
                <a:gd name="T28" fmla="*/ 301 w 322"/>
                <a:gd name="T29" fmla="*/ 50 h 219"/>
                <a:gd name="T30" fmla="*/ 151 w 322"/>
                <a:gd name="T31" fmla="*/ 201 h 219"/>
                <a:gd name="T32" fmla="*/ 146 w 322"/>
                <a:gd name="T33" fmla="*/ 203 h 219"/>
                <a:gd name="T34" fmla="*/ 101 w 322"/>
                <a:gd name="T35" fmla="*/ 218 h 219"/>
                <a:gd name="T36" fmla="*/ 98 w 322"/>
                <a:gd name="T37" fmla="*/ 219 h 219"/>
                <a:gd name="T38" fmla="*/ 90 w 322"/>
                <a:gd name="T39" fmla="*/ 216 h 219"/>
                <a:gd name="T40" fmla="*/ 88 w 322"/>
                <a:gd name="T41" fmla="*/ 205 h 219"/>
                <a:gd name="T42" fmla="*/ 103 w 322"/>
                <a:gd name="T43" fmla="*/ 159 h 219"/>
                <a:gd name="T44" fmla="*/ 105 w 322"/>
                <a:gd name="T45" fmla="*/ 155 h 219"/>
                <a:gd name="T46" fmla="*/ 256 w 322"/>
                <a:gd name="T47" fmla="*/ 4 h 219"/>
                <a:gd name="T48" fmla="*/ 271 w 322"/>
                <a:gd name="T49" fmla="*/ 4 h 219"/>
                <a:gd name="T50" fmla="*/ 301 w 322"/>
                <a:gd name="T51" fmla="*/ 35 h 219"/>
                <a:gd name="T52" fmla="*/ 305 w 322"/>
                <a:gd name="T53" fmla="*/ 42 h 219"/>
                <a:gd name="T54" fmla="*/ 301 w 322"/>
                <a:gd name="T55" fmla="*/ 50 h 219"/>
                <a:gd name="T56" fmla="*/ 218 w 322"/>
                <a:gd name="T57" fmla="*/ 102 h 219"/>
                <a:gd name="T58" fmla="*/ 203 w 322"/>
                <a:gd name="T59" fmla="*/ 87 h 219"/>
                <a:gd name="T60" fmla="*/ 122 w 322"/>
                <a:gd name="T61" fmla="*/ 169 h 219"/>
                <a:gd name="T62" fmla="*/ 115 w 322"/>
                <a:gd name="T63" fmla="*/ 191 h 219"/>
                <a:gd name="T64" fmla="*/ 137 w 322"/>
                <a:gd name="T65" fmla="*/ 184 h 219"/>
                <a:gd name="T66" fmla="*/ 218 w 322"/>
                <a:gd name="T67" fmla="*/ 102 h 219"/>
                <a:gd name="T68" fmla="*/ 279 w 322"/>
                <a:gd name="T69" fmla="*/ 42 h 219"/>
                <a:gd name="T70" fmla="*/ 264 w 322"/>
                <a:gd name="T71" fmla="*/ 27 h 219"/>
                <a:gd name="T72" fmla="*/ 218 w 322"/>
                <a:gd name="T73" fmla="*/ 72 h 219"/>
                <a:gd name="T74" fmla="*/ 234 w 322"/>
                <a:gd name="T75" fmla="*/ 87 h 219"/>
                <a:gd name="T76" fmla="*/ 279 w 322"/>
                <a:gd name="T77" fmla="*/ 42 h 219"/>
                <a:gd name="T78" fmla="*/ 318 w 322"/>
                <a:gd name="T79" fmla="*/ 82 h 219"/>
                <a:gd name="T80" fmla="*/ 302 w 322"/>
                <a:gd name="T81" fmla="*/ 82 h 219"/>
                <a:gd name="T82" fmla="*/ 260 w 322"/>
                <a:gd name="T83" fmla="*/ 125 h 219"/>
                <a:gd name="T84" fmla="*/ 260 w 322"/>
                <a:gd name="T85" fmla="*/ 140 h 219"/>
                <a:gd name="T86" fmla="*/ 267 w 322"/>
                <a:gd name="T87" fmla="*/ 143 h 219"/>
                <a:gd name="T88" fmla="*/ 275 w 322"/>
                <a:gd name="T89" fmla="*/ 140 h 219"/>
                <a:gd name="T90" fmla="*/ 318 w 322"/>
                <a:gd name="T91" fmla="*/ 98 h 219"/>
                <a:gd name="T92" fmla="*/ 318 w 322"/>
                <a:gd name="T93" fmla="*/ 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2" h="219">
                  <a:moveTo>
                    <a:pt x="48" y="172"/>
                  </a:moveTo>
                  <a:cubicBezTo>
                    <a:pt x="48" y="177"/>
                    <a:pt x="56" y="185"/>
                    <a:pt x="60" y="188"/>
                  </a:cubicBezTo>
                  <a:cubicBezTo>
                    <a:pt x="65" y="191"/>
                    <a:pt x="66" y="198"/>
                    <a:pt x="63" y="203"/>
                  </a:cubicBezTo>
                  <a:cubicBezTo>
                    <a:pt x="61" y="206"/>
                    <a:pt x="57" y="207"/>
                    <a:pt x="54" y="207"/>
                  </a:cubicBezTo>
                  <a:cubicBezTo>
                    <a:pt x="52" y="207"/>
                    <a:pt x="50" y="207"/>
                    <a:pt x="48" y="205"/>
                  </a:cubicBezTo>
                  <a:cubicBezTo>
                    <a:pt x="46" y="204"/>
                    <a:pt x="25" y="189"/>
                    <a:pt x="27" y="171"/>
                  </a:cubicBezTo>
                  <a:cubicBezTo>
                    <a:pt x="28" y="160"/>
                    <a:pt x="35" y="151"/>
                    <a:pt x="50" y="144"/>
                  </a:cubicBezTo>
                  <a:cubicBezTo>
                    <a:pt x="70" y="135"/>
                    <a:pt x="81" y="121"/>
                    <a:pt x="79" y="114"/>
                  </a:cubicBezTo>
                  <a:cubicBezTo>
                    <a:pt x="77" y="107"/>
                    <a:pt x="61" y="96"/>
                    <a:pt x="12" y="101"/>
                  </a:cubicBezTo>
                  <a:cubicBezTo>
                    <a:pt x="6" y="101"/>
                    <a:pt x="1" y="97"/>
                    <a:pt x="1" y="91"/>
                  </a:cubicBezTo>
                  <a:cubicBezTo>
                    <a:pt x="0" y="85"/>
                    <a:pt x="5" y="80"/>
                    <a:pt x="10" y="79"/>
                  </a:cubicBezTo>
                  <a:cubicBezTo>
                    <a:pt x="80" y="73"/>
                    <a:pt x="96" y="95"/>
                    <a:pt x="99" y="108"/>
                  </a:cubicBezTo>
                  <a:cubicBezTo>
                    <a:pt x="105" y="128"/>
                    <a:pt x="88" y="150"/>
                    <a:pt x="58" y="164"/>
                  </a:cubicBezTo>
                  <a:cubicBezTo>
                    <a:pt x="52" y="167"/>
                    <a:pt x="48" y="170"/>
                    <a:pt x="48" y="172"/>
                  </a:cubicBezTo>
                  <a:close/>
                  <a:moveTo>
                    <a:pt x="301" y="50"/>
                  </a:moveTo>
                  <a:cubicBezTo>
                    <a:pt x="151" y="201"/>
                    <a:pt x="151" y="201"/>
                    <a:pt x="151" y="201"/>
                  </a:cubicBezTo>
                  <a:cubicBezTo>
                    <a:pt x="149" y="202"/>
                    <a:pt x="148" y="203"/>
                    <a:pt x="146" y="203"/>
                  </a:cubicBezTo>
                  <a:cubicBezTo>
                    <a:pt x="101" y="218"/>
                    <a:pt x="101" y="218"/>
                    <a:pt x="101" y="218"/>
                  </a:cubicBezTo>
                  <a:cubicBezTo>
                    <a:pt x="100" y="219"/>
                    <a:pt x="99" y="219"/>
                    <a:pt x="98" y="219"/>
                  </a:cubicBezTo>
                  <a:cubicBezTo>
                    <a:pt x="95" y="219"/>
                    <a:pt x="92" y="218"/>
                    <a:pt x="90" y="216"/>
                  </a:cubicBezTo>
                  <a:cubicBezTo>
                    <a:pt x="87" y="213"/>
                    <a:pt x="86" y="209"/>
                    <a:pt x="88" y="205"/>
                  </a:cubicBezTo>
                  <a:cubicBezTo>
                    <a:pt x="103" y="159"/>
                    <a:pt x="103" y="159"/>
                    <a:pt x="103" y="159"/>
                  </a:cubicBezTo>
                  <a:cubicBezTo>
                    <a:pt x="103" y="158"/>
                    <a:pt x="104" y="156"/>
                    <a:pt x="105" y="155"/>
                  </a:cubicBezTo>
                  <a:cubicBezTo>
                    <a:pt x="256" y="4"/>
                    <a:pt x="256" y="4"/>
                    <a:pt x="256" y="4"/>
                  </a:cubicBezTo>
                  <a:cubicBezTo>
                    <a:pt x="260" y="0"/>
                    <a:pt x="267" y="0"/>
                    <a:pt x="271" y="4"/>
                  </a:cubicBezTo>
                  <a:cubicBezTo>
                    <a:pt x="301" y="35"/>
                    <a:pt x="301" y="35"/>
                    <a:pt x="301" y="35"/>
                  </a:cubicBezTo>
                  <a:cubicBezTo>
                    <a:pt x="303" y="37"/>
                    <a:pt x="305" y="39"/>
                    <a:pt x="305" y="42"/>
                  </a:cubicBezTo>
                  <a:cubicBezTo>
                    <a:pt x="305" y="45"/>
                    <a:pt x="303" y="48"/>
                    <a:pt x="301" y="50"/>
                  </a:cubicBezTo>
                  <a:close/>
                  <a:moveTo>
                    <a:pt x="218" y="102"/>
                  </a:moveTo>
                  <a:cubicBezTo>
                    <a:pt x="203" y="87"/>
                    <a:pt x="203" y="87"/>
                    <a:pt x="203" y="87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5" y="191"/>
                    <a:pt x="115" y="191"/>
                    <a:pt x="115" y="191"/>
                  </a:cubicBezTo>
                  <a:cubicBezTo>
                    <a:pt x="137" y="184"/>
                    <a:pt x="137" y="184"/>
                    <a:pt x="137" y="184"/>
                  </a:cubicBezTo>
                  <a:lnTo>
                    <a:pt x="218" y="102"/>
                  </a:lnTo>
                  <a:close/>
                  <a:moveTo>
                    <a:pt x="279" y="42"/>
                  </a:moveTo>
                  <a:cubicBezTo>
                    <a:pt x="264" y="27"/>
                    <a:pt x="264" y="27"/>
                    <a:pt x="264" y="27"/>
                  </a:cubicBezTo>
                  <a:cubicBezTo>
                    <a:pt x="218" y="72"/>
                    <a:pt x="218" y="72"/>
                    <a:pt x="218" y="72"/>
                  </a:cubicBezTo>
                  <a:cubicBezTo>
                    <a:pt x="234" y="87"/>
                    <a:pt x="234" y="87"/>
                    <a:pt x="234" y="87"/>
                  </a:cubicBezTo>
                  <a:lnTo>
                    <a:pt x="279" y="42"/>
                  </a:lnTo>
                  <a:close/>
                  <a:moveTo>
                    <a:pt x="318" y="82"/>
                  </a:moveTo>
                  <a:cubicBezTo>
                    <a:pt x="313" y="78"/>
                    <a:pt x="307" y="78"/>
                    <a:pt x="302" y="82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6" y="129"/>
                    <a:pt x="256" y="136"/>
                    <a:pt x="260" y="140"/>
                  </a:cubicBezTo>
                  <a:cubicBezTo>
                    <a:pt x="262" y="142"/>
                    <a:pt x="265" y="143"/>
                    <a:pt x="267" y="143"/>
                  </a:cubicBezTo>
                  <a:cubicBezTo>
                    <a:pt x="270" y="143"/>
                    <a:pt x="273" y="142"/>
                    <a:pt x="275" y="140"/>
                  </a:cubicBezTo>
                  <a:cubicBezTo>
                    <a:pt x="318" y="98"/>
                    <a:pt x="318" y="98"/>
                    <a:pt x="318" y="98"/>
                  </a:cubicBezTo>
                  <a:cubicBezTo>
                    <a:pt x="322" y="93"/>
                    <a:pt x="322" y="87"/>
                    <a:pt x="318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  <p:sp>
          <p:nvSpPr>
            <p:cNvPr id="10" name="Freeform 245">
              <a:extLst>
                <a:ext uri="{FF2B5EF4-FFF2-40B4-BE49-F238E27FC236}">
                  <a16:creationId xmlns:a16="http://schemas.microsoft.com/office/drawing/2014/main" id="{D1EECE79-D2CF-8C8F-8E86-5C977D2C0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78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AC27444-FEC5-DFD4-CEA8-0CE1B20A9D85}"/>
              </a:ext>
            </a:extLst>
          </p:cNvPr>
          <p:cNvSpPr txBox="1"/>
          <p:nvPr/>
        </p:nvSpPr>
        <p:spPr>
          <a:xfrm>
            <a:off x="1116102" y="5603908"/>
            <a:ext cx="407533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0" lvl="2" indent="0">
              <a:buNone/>
            </a:pPr>
            <a:r>
              <a:rPr lang="cs-CZ" sz="1600" i="1" dirty="0"/>
              <a:t>Podpis dokumentu pověřenou osobou Žadatele</a:t>
            </a:r>
          </a:p>
        </p:txBody>
      </p:sp>
      <p:grpSp>
        <p:nvGrpSpPr>
          <p:cNvPr id="12" name="Group 243">
            <a:extLst>
              <a:ext uri="{FF2B5EF4-FFF2-40B4-BE49-F238E27FC236}">
                <a16:creationId xmlns:a16="http://schemas.microsoft.com/office/drawing/2014/main" id="{F39B2BF9-6855-9F7F-895C-A225A6EC6E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3331" y="2108987"/>
            <a:ext cx="369021" cy="370106"/>
            <a:chOff x="3476" y="785"/>
            <a:chExt cx="340" cy="341"/>
          </a:xfrm>
          <a:solidFill>
            <a:schemeClr val="tx1"/>
          </a:solidFill>
        </p:grpSpPr>
        <p:sp>
          <p:nvSpPr>
            <p:cNvPr id="13" name="Freeform 244">
              <a:extLst>
                <a:ext uri="{FF2B5EF4-FFF2-40B4-BE49-F238E27FC236}">
                  <a16:creationId xmlns:a16="http://schemas.microsoft.com/office/drawing/2014/main" id="{F3AC83D0-633B-AF15-4F47-06CA2D2EE0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888"/>
              <a:ext cx="214" cy="146"/>
            </a:xfrm>
            <a:custGeom>
              <a:avLst/>
              <a:gdLst>
                <a:gd name="T0" fmla="*/ 48 w 322"/>
                <a:gd name="T1" fmla="*/ 172 h 219"/>
                <a:gd name="T2" fmla="*/ 60 w 322"/>
                <a:gd name="T3" fmla="*/ 188 h 219"/>
                <a:gd name="T4" fmla="*/ 63 w 322"/>
                <a:gd name="T5" fmla="*/ 203 h 219"/>
                <a:gd name="T6" fmla="*/ 54 w 322"/>
                <a:gd name="T7" fmla="*/ 207 h 219"/>
                <a:gd name="T8" fmla="*/ 48 w 322"/>
                <a:gd name="T9" fmla="*/ 205 h 219"/>
                <a:gd name="T10" fmla="*/ 27 w 322"/>
                <a:gd name="T11" fmla="*/ 171 h 219"/>
                <a:gd name="T12" fmla="*/ 50 w 322"/>
                <a:gd name="T13" fmla="*/ 144 h 219"/>
                <a:gd name="T14" fmla="*/ 79 w 322"/>
                <a:gd name="T15" fmla="*/ 114 h 219"/>
                <a:gd name="T16" fmla="*/ 12 w 322"/>
                <a:gd name="T17" fmla="*/ 101 h 219"/>
                <a:gd name="T18" fmla="*/ 1 w 322"/>
                <a:gd name="T19" fmla="*/ 91 h 219"/>
                <a:gd name="T20" fmla="*/ 10 w 322"/>
                <a:gd name="T21" fmla="*/ 79 h 219"/>
                <a:gd name="T22" fmla="*/ 99 w 322"/>
                <a:gd name="T23" fmla="*/ 108 h 219"/>
                <a:gd name="T24" fmla="*/ 58 w 322"/>
                <a:gd name="T25" fmla="*/ 164 h 219"/>
                <a:gd name="T26" fmla="*/ 48 w 322"/>
                <a:gd name="T27" fmla="*/ 172 h 219"/>
                <a:gd name="T28" fmla="*/ 301 w 322"/>
                <a:gd name="T29" fmla="*/ 50 h 219"/>
                <a:gd name="T30" fmla="*/ 151 w 322"/>
                <a:gd name="T31" fmla="*/ 201 h 219"/>
                <a:gd name="T32" fmla="*/ 146 w 322"/>
                <a:gd name="T33" fmla="*/ 203 h 219"/>
                <a:gd name="T34" fmla="*/ 101 w 322"/>
                <a:gd name="T35" fmla="*/ 218 h 219"/>
                <a:gd name="T36" fmla="*/ 98 w 322"/>
                <a:gd name="T37" fmla="*/ 219 h 219"/>
                <a:gd name="T38" fmla="*/ 90 w 322"/>
                <a:gd name="T39" fmla="*/ 216 h 219"/>
                <a:gd name="T40" fmla="*/ 88 w 322"/>
                <a:gd name="T41" fmla="*/ 205 h 219"/>
                <a:gd name="T42" fmla="*/ 103 w 322"/>
                <a:gd name="T43" fmla="*/ 159 h 219"/>
                <a:gd name="T44" fmla="*/ 105 w 322"/>
                <a:gd name="T45" fmla="*/ 155 h 219"/>
                <a:gd name="T46" fmla="*/ 256 w 322"/>
                <a:gd name="T47" fmla="*/ 4 h 219"/>
                <a:gd name="T48" fmla="*/ 271 w 322"/>
                <a:gd name="T49" fmla="*/ 4 h 219"/>
                <a:gd name="T50" fmla="*/ 301 w 322"/>
                <a:gd name="T51" fmla="*/ 35 h 219"/>
                <a:gd name="T52" fmla="*/ 305 w 322"/>
                <a:gd name="T53" fmla="*/ 42 h 219"/>
                <a:gd name="T54" fmla="*/ 301 w 322"/>
                <a:gd name="T55" fmla="*/ 50 h 219"/>
                <a:gd name="T56" fmla="*/ 218 w 322"/>
                <a:gd name="T57" fmla="*/ 102 h 219"/>
                <a:gd name="T58" fmla="*/ 203 w 322"/>
                <a:gd name="T59" fmla="*/ 87 h 219"/>
                <a:gd name="T60" fmla="*/ 122 w 322"/>
                <a:gd name="T61" fmla="*/ 169 h 219"/>
                <a:gd name="T62" fmla="*/ 115 w 322"/>
                <a:gd name="T63" fmla="*/ 191 h 219"/>
                <a:gd name="T64" fmla="*/ 137 w 322"/>
                <a:gd name="T65" fmla="*/ 184 h 219"/>
                <a:gd name="T66" fmla="*/ 218 w 322"/>
                <a:gd name="T67" fmla="*/ 102 h 219"/>
                <a:gd name="T68" fmla="*/ 279 w 322"/>
                <a:gd name="T69" fmla="*/ 42 h 219"/>
                <a:gd name="T70" fmla="*/ 264 w 322"/>
                <a:gd name="T71" fmla="*/ 27 h 219"/>
                <a:gd name="T72" fmla="*/ 218 w 322"/>
                <a:gd name="T73" fmla="*/ 72 h 219"/>
                <a:gd name="T74" fmla="*/ 234 w 322"/>
                <a:gd name="T75" fmla="*/ 87 h 219"/>
                <a:gd name="T76" fmla="*/ 279 w 322"/>
                <a:gd name="T77" fmla="*/ 42 h 219"/>
                <a:gd name="T78" fmla="*/ 318 w 322"/>
                <a:gd name="T79" fmla="*/ 82 h 219"/>
                <a:gd name="T80" fmla="*/ 302 w 322"/>
                <a:gd name="T81" fmla="*/ 82 h 219"/>
                <a:gd name="T82" fmla="*/ 260 w 322"/>
                <a:gd name="T83" fmla="*/ 125 h 219"/>
                <a:gd name="T84" fmla="*/ 260 w 322"/>
                <a:gd name="T85" fmla="*/ 140 h 219"/>
                <a:gd name="T86" fmla="*/ 267 w 322"/>
                <a:gd name="T87" fmla="*/ 143 h 219"/>
                <a:gd name="T88" fmla="*/ 275 w 322"/>
                <a:gd name="T89" fmla="*/ 140 h 219"/>
                <a:gd name="T90" fmla="*/ 318 w 322"/>
                <a:gd name="T91" fmla="*/ 98 h 219"/>
                <a:gd name="T92" fmla="*/ 318 w 322"/>
                <a:gd name="T93" fmla="*/ 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2" h="219">
                  <a:moveTo>
                    <a:pt x="48" y="172"/>
                  </a:moveTo>
                  <a:cubicBezTo>
                    <a:pt x="48" y="177"/>
                    <a:pt x="56" y="185"/>
                    <a:pt x="60" y="188"/>
                  </a:cubicBezTo>
                  <a:cubicBezTo>
                    <a:pt x="65" y="191"/>
                    <a:pt x="66" y="198"/>
                    <a:pt x="63" y="203"/>
                  </a:cubicBezTo>
                  <a:cubicBezTo>
                    <a:pt x="61" y="206"/>
                    <a:pt x="57" y="207"/>
                    <a:pt x="54" y="207"/>
                  </a:cubicBezTo>
                  <a:cubicBezTo>
                    <a:pt x="52" y="207"/>
                    <a:pt x="50" y="207"/>
                    <a:pt x="48" y="205"/>
                  </a:cubicBezTo>
                  <a:cubicBezTo>
                    <a:pt x="46" y="204"/>
                    <a:pt x="25" y="189"/>
                    <a:pt x="27" y="171"/>
                  </a:cubicBezTo>
                  <a:cubicBezTo>
                    <a:pt x="28" y="160"/>
                    <a:pt x="35" y="151"/>
                    <a:pt x="50" y="144"/>
                  </a:cubicBezTo>
                  <a:cubicBezTo>
                    <a:pt x="70" y="135"/>
                    <a:pt x="81" y="121"/>
                    <a:pt x="79" y="114"/>
                  </a:cubicBezTo>
                  <a:cubicBezTo>
                    <a:pt x="77" y="107"/>
                    <a:pt x="61" y="96"/>
                    <a:pt x="12" y="101"/>
                  </a:cubicBezTo>
                  <a:cubicBezTo>
                    <a:pt x="6" y="101"/>
                    <a:pt x="1" y="97"/>
                    <a:pt x="1" y="91"/>
                  </a:cubicBezTo>
                  <a:cubicBezTo>
                    <a:pt x="0" y="85"/>
                    <a:pt x="5" y="80"/>
                    <a:pt x="10" y="79"/>
                  </a:cubicBezTo>
                  <a:cubicBezTo>
                    <a:pt x="80" y="73"/>
                    <a:pt x="96" y="95"/>
                    <a:pt x="99" y="108"/>
                  </a:cubicBezTo>
                  <a:cubicBezTo>
                    <a:pt x="105" y="128"/>
                    <a:pt x="88" y="150"/>
                    <a:pt x="58" y="164"/>
                  </a:cubicBezTo>
                  <a:cubicBezTo>
                    <a:pt x="52" y="167"/>
                    <a:pt x="48" y="170"/>
                    <a:pt x="48" y="172"/>
                  </a:cubicBezTo>
                  <a:close/>
                  <a:moveTo>
                    <a:pt x="301" y="50"/>
                  </a:moveTo>
                  <a:cubicBezTo>
                    <a:pt x="151" y="201"/>
                    <a:pt x="151" y="201"/>
                    <a:pt x="151" y="201"/>
                  </a:cubicBezTo>
                  <a:cubicBezTo>
                    <a:pt x="149" y="202"/>
                    <a:pt x="148" y="203"/>
                    <a:pt x="146" y="203"/>
                  </a:cubicBezTo>
                  <a:cubicBezTo>
                    <a:pt x="101" y="218"/>
                    <a:pt x="101" y="218"/>
                    <a:pt x="101" y="218"/>
                  </a:cubicBezTo>
                  <a:cubicBezTo>
                    <a:pt x="100" y="219"/>
                    <a:pt x="99" y="219"/>
                    <a:pt x="98" y="219"/>
                  </a:cubicBezTo>
                  <a:cubicBezTo>
                    <a:pt x="95" y="219"/>
                    <a:pt x="92" y="218"/>
                    <a:pt x="90" y="216"/>
                  </a:cubicBezTo>
                  <a:cubicBezTo>
                    <a:pt x="87" y="213"/>
                    <a:pt x="86" y="209"/>
                    <a:pt x="88" y="205"/>
                  </a:cubicBezTo>
                  <a:cubicBezTo>
                    <a:pt x="103" y="159"/>
                    <a:pt x="103" y="159"/>
                    <a:pt x="103" y="159"/>
                  </a:cubicBezTo>
                  <a:cubicBezTo>
                    <a:pt x="103" y="158"/>
                    <a:pt x="104" y="156"/>
                    <a:pt x="105" y="155"/>
                  </a:cubicBezTo>
                  <a:cubicBezTo>
                    <a:pt x="256" y="4"/>
                    <a:pt x="256" y="4"/>
                    <a:pt x="256" y="4"/>
                  </a:cubicBezTo>
                  <a:cubicBezTo>
                    <a:pt x="260" y="0"/>
                    <a:pt x="267" y="0"/>
                    <a:pt x="271" y="4"/>
                  </a:cubicBezTo>
                  <a:cubicBezTo>
                    <a:pt x="301" y="35"/>
                    <a:pt x="301" y="35"/>
                    <a:pt x="301" y="35"/>
                  </a:cubicBezTo>
                  <a:cubicBezTo>
                    <a:pt x="303" y="37"/>
                    <a:pt x="305" y="39"/>
                    <a:pt x="305" y="42"/>
                  </a:cubicBezTo>
                  <a:cubicBezTo>
                    <a:pt x="305" y="45"/>
                    <a:pt x="303" y="48"/>
                    <a:pt x="301" y="50"/>
                  </a:cubicBezTo>
                  <a:close/>
                  <a:moveTo>
                    <a:pt x="218" y="102"/>
                  </a:moveTo>
                  <a:cubicBezTo>
                    <a:pt x="203" y="87"/>
                    <a:pt x="203" y="87"/>
                    <a:pt x="203" y="87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5" y="191"/>
                    <a:pt x="115" y="191"/>
                    <a:pt x="115" y="191"/>
                  </a:cubicBezTo>
                  <a:cubicBezTo>
                    <a:pt x="137" y="184"/>
                    <a:pt x="137" y="184"/>
                    <a:pt x="137" y="184"/>
                  </a:cubicBezTo>
                  <a:lnTo>
                    <a:pt x="218" y="102"/>
                  </a:lnTo>
                  <a:close/>
                  <a:moveTo>
                    <a:pt x="279" y="42"/>
                  </a:moveTo>
                  <a:cubicBezTo>
                    <a:pt x="264" y="27"/>
                    <a:pt x="264" y="27"/>
                    <a:pt x="264" y="27"/>
                  </a:cubicBezTo>
                  <a:cubicBezTo>
                    <a:pt x="218" y="72"/>
                    <a:pt x="218" y="72"/>
                    <a:pt x="218" y="72"/>
                  </a:cubicBezTo>
                  <a:cubicBezTo>
                    <a:pt x="234" y="87"/>
                    <a:pt x="234" y="87"/>
                    <a:pt x="234" y="87"/>
                  </a:cubicBezTo>
                  <a:lnTo>
                    <a:pt x="279" y="42"/>
                  </a:lnTo>
                  <a:close/>
                  <a:moveTo>
                    <a:pt x="318" y="82"/>
                  </a:moveTo>
                  <a:cubicBezTo>
                    <a:pt x="313" y="78"/>
                    <a:pt x="307" y="78"/>
                    <a:pt x="302" y="82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6" y="129"/>
                    <a:pt x="256" y="136"/>
                    <a:pt x="260" y="140"/>
                  </a:cubicBezTo>
                  <a:cubicBezTo>
                    <a:pt x="262" y="142"/>
                    <a:pt x="265" y="143"/>
                    <a:pt x="267" y="143"/>
                  </a:cubicBezTo>
                  <a:cubicBezTo>
                    <a:pt x="270" y="143"/>
                    <a:pt x="273" y="142"/>
                    <a:pt x="275" y="140"/>
                  </a:cubicBezTo>
                  <a:cubicBezTo>
                    <a:pt x="318" y="98"/>
                    <a:pt x="318" y="98"/>
                    <a:pt x="318" y="98"/>
                  </a:cubicBezTo>
                  <a:cubicBezTo>
                    <a:pt x="322" y="93"/>
                    <a:pt x="322" y="87"/>
                    <a:pt x="318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  <p:sp>
          <p:nvSpPr>
            <p:cNvPr id="14" name="Freeform 245">
              <a:extLst>
                <a:ext uri="{FF2B5EF4-FFF2-40B4-BE49-F238E27FC236}">
                  <a16:creationId xmlns:a16="http://schemas.microsoft.com/office/drawing/2014/main" id="{ABCE5D13-3D21-BF58-7692-B60716D492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78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68A2BA23-8936-6ECE-1751-D9CA1809F860}"/>
              </a:ext>
            </a:extLst>
          </p:cNvPr>
          <p:cNvSpPr txBox="1"/>
          <p:nvPr/>
        </p:nvSpPr>
        <p:spPr>
          <a:xfrm>
            <a:off x="1199836" y="2118973"/>
            <a:ext cx="3480319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0" lvl="2" indent="0">
              <a:buNone/>
            </a:pPr>
            <a:r>
              <a:rPr lang="cs-CZ" sz="1600" i="1" dirty="0"/>
              <a:t>Podpis dokumentu pověřenou osobou Žadatele k uzavírání smluv</a:t>
            </a:r>
          </a:p>
        </p:txBody>
      </p:sp>
      <p:sp>
        <p:nvSpPr>
          <p:cNvPr id="17" name="Rounded Rectangle 35">
            <a:extLst>
              <a:ext uri="{FF2B5EF4-FFF2-40B4-BE49-F238E27FC236}">
                <a16:creationId xmlns:a16="http://schemas.microsoft.com/office/drawing/2014/main" id="{7B297BAB-94C8-1010-B67C-E90BAB4BD6CF}"/>
              </a:ext>
            </a:extLst>
          </p:cNvPr>
          <p:cNvSpPr/>
          <p:nvPr/>
        </p:nvSpPr>
        <p:spPr bwMode="auto">
          <a:xfrm>
            <a:off x="683331" y="2818616"/>
            <a:ext cx="4753908" cy="345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000066"/>
              </a:buClr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Dokumenty k Registračnímu formuláři </a:t>
            </a:r>
            <a:b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odevzdávané Žadatelem</a:t>
            </a: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ounded Rectangle 35">
            <a:extLst>
              <a:ext uri="{FF2B5EF4-FFF2-40B4-BE49-F238E27FC236}">
                <a16:creationId xmlns:a16="http://schemas.microsoft.com/office/drawing/2014/main" id="{05763A5E-43BC-C544-10AB-8E44E6FFA6BE}"/>
              </a:ext>
            </a:extLst>
          </p:cNvPr>
          <p:cNvSpPr/>
          <p:nvPr/>
        </p:nvSpPr>
        <p:spPr bwMode="auto">
          <a:xfrm>
            <a:off x="6445680" y="1673946"/>
            <a:ext cx="1152000" cy="432000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odmínky spolupráce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6C1500D4-E469-0FD8-19A3-975B16A019F2}"/>
              </a:ext>
            </a:extLst>
          </p:cNvPr>
          <p:cNvSpPr/>
          <p:nvPr/>
        </p:nvSpPr>
        <p:spPr bwMode="gray">
          <a:xfrm>
            <a:off x="6211743" y="1353590"/>
            <a:ext cx="5112000" cy="5031393"/>
          </a:xfrm>
          <a:prstGeom prst="roundRect">
            <a:avLst>
              <a:gd name="adj" fmla="val 4176"/>
            </a:avLst>
          </a:prstGeom>
          <a:noFill/>
          <a:ln w="952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20" name="Rounded Rectangle 35">
            <a:extLst>
              <a:ext uri="{FF2B5EF4-FFF2-40B4-BE49-F238E27FC236}">
                <a16:creationId xmlns:a16="http://schemas.microsoft.com/office/drawing/2014/main" id="{5EB48EB8-9C14-83A5-9385-1A2BEDDEFF28}"/>
              </a:ext>
            </a:extLst>
          </p:cNvPr>
          <p:cNvSpPr/>
          <p:nvPr/>
        </p:nvSpPr>
        <p:spPr bwMode="auto">
          <a:xfrm>
            <a:off x="6445678" y="1176852"/>
            <a:ext cx="4428000" cy="360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řílohy, na které se Registrační formulář odkazuje</a:t>
            </a:r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D0EDA4-A100-3564-2371-2BDCEF0E5C88}"/>
              </a:ext>
            </a:extLst>
          </p:cNvPr>
          <p:cNvSpPr txBox="1"/>
          <p:nvPr/>
        </p:nvSpPr>
        <p:spPr>
          <a:xfrm>
            <a:off x="6445679" y="2111905"/>
            <a:ext cx="5475945" cy="1184369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/>
            <a:r>
              <a:rPr lang="cs-CZ" sz="1600" dirty="0"/>
              <a:t>Vymezují práva a povinnosti jednotlivých subjektů</a:t>
            </a:r>
          </a:p>
          <a:p>
            <a:pPr lvl="1"/>
            <a:r>
              <a:rPr lang="cs-CZ" sz="1600" dirty="0"/>
              <a:t>Zavazují strany k mlčenlivosti</a:t>
            </a:r>
          </a:p>
          <a:p>
            <a:pPr lvl="1"/>
            <a:r>
              <a:rPr lang="cs-CZ" sz="1600" dirty="0"/>
              <a:t>Definují podmínky pro ukončení Smlouvy</a:t>
            </a:r>
          </a:p>
          <a:p>
            <a:pPr lvl="1"/>
            <a:r>
              <a:rPr lang="cs-CZ" sz="1600" dirty="0"/>
              <a:t>Definují tarifní politiku </a:t>
            </a:r>
          </a:p>
        </p:txBody>
      </p:sp>
      <p:grpSp>
        <p:nvGrpSpPr>
          <p:cNvPr id="23" name="Group 243">
            <a:extLst>
              <a:ext uri="{FF2B5EF4-FFF2-40B4-BE49-F238E27FC236}">
                <a16:creationId xmlns:a16="http://schemas.microsoft.com/office/drawing/2014/main" id="{30E3C0F9-0530-FFE2-7B15-80FDA32E8F4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952377" y="1673075"/>
            <a:ext cx="369021" cy="370106"/>
            <a:chOff x="3476" y="785"/>
            <a:chExt cx="340" cy="341"/>
          </a:xfrm>
          <a:solidFill>
            <a:schemeClr val="tx1"/>
          </a:solidFill>
        </p:grpSpPr>
        <p:sp>
          <p:nvSpPr>
            <p:cNvPr id="24" name="Freeform 244">
              <a:extLst>
                <a:ext uri="{FF2B5EF4-FFF2-40B4-BE49-F238E27FC236}">
                  <a16:creationId xmlns:a16="http://schemas.microsoft.com/office/drawing/2014/main" id="{C13F801B-A52F-BD8B-5D78-F2F3A4C06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9" y="888"/>
              <a:ext cx="214" cy="146"/>
            </a:xfrm>
            <a:custGeom>
              <a:avLst/>
              <a:gdLst>
                <a:gd name="T0" fmla="*/ 48 w 322"/>
                <a:gd name="T1" fmla="*/ 172 h 219"/>
                <a:gd name="T2" fmla="*/ 60 w 322"/>
                <a:gd name="T3" fmla="*/ 188 h 219"/>
                <a:gd name="T4" fmla="*/ 63 w 322"/>
                <a:gd name="T5" fmla="*/ 203 h 219"/>
                <a:gd name="T6" fmla="*/ 54 w 322"/>
                <a:gd name="T7" fmla="*/ 207 h 219"/>
                <a:gd name="T8" fmla="*/ 48 w 322"/>
                <a:gd name="T9" fmla="*/ 205 h 219"/>
                <a:gd name="T10" fmla="*/ 27 w 322"/>
                <a:gd name="T11" fmla="*/ 171 h 219"/>
                <a:gd name="T12" fmla="*/ 50 w 322"/>
                <a:gd name="T13" fmla="*/ 144 h 219"/>
                <a:gd name="T14" fmla="*/ 79 w 322"/>
                <a:gd name="T15" fmla="*/ 114 h 219"/>
                <a:gd name="T16" fmla="*/ 12 w 322"/>
                <a:gd name="T17" fmla="*/ 101 h 219"/>
                <a:gd name="T18" fmla="*/ 1 w 322"/>
                <a:gd name="T19" fmla="*/ 91 h 219"/>
                <a:gd name="T20" fmla="*/ 10 w 322"/>
                <a:gd name="T21" fmla="*/ 79 h 219"/>
                <a:gd name="T22" fmla="*/ 99 w 322"/>
                <a:gd name="T23" fmla="*/ 108 h 219"/>
                <a:gd name="T24" fmla="*/ 58 w 322"/>
                <a:gd name="T25" fmla="*/ 164 h 219"/>
                <a:gd name="T26" fmla="*/ 48 w 322"/>
                <a:gd name="T27" fmla="*/ 172 h 219"/>
                <a:gd name="T28" fmla="*/ 301 w 322"/>
                <a:gd name="T29" fmla="*/ 50 h 219"/>
                <a:gd name="T30" fmla="*/ 151 w 322"/>
                <a:gd name="T31" fmla="*/ 201 h 219"/>
                <a:gd name="T32" fmla="*/ 146 w 322"/>
                <a:gd name="T33" fmla="*/ 203 h 219"/>
                <a:gd name="T34" fmla="*/ 101 w 322"/>
                <a:gd name="T35" fmla="*/ 218 h 219"/>
                <a:gd name="T36" fmla="*/ 98 w 322"/>
                <a:gd name="T37" fmla="*/ 219 h 219"/>
                <a:gd name="T38" fmla="*/ 90 w 322"/>
                <a:gd name="T39" fmla="*/ 216 h 219"/>
                <a:gd name="T40" fmla="*/ 88 w 322"/>
                <a:gd name="T41" fmla="*/ 205 h 219"/>
                <a:gd name="T42" fmla="*/ 103 w 322"/>
                <a:gd name="T43" fmla="*/ 159 h 219"/>
                <a:gd name="T44" fmla="*/ 105 w 322"/>
                <a:gd name="T45" fmla="*/ 155 h 219"/>
                <a:gd name="T46" fmla="*/ 256 w 322"/>
                <a:gd name="T47" fmla="*/ 4 h 219"/>
                <a:gd name="T48" fmla="*/ 271 w 322"/>
                <a:gd name="T49" fmla="*/ 4 h 219"/>
                <a:gd name="T50" fmla="*/ 301 w 322"/>
                <a:gd name="T51" fmla="*/ 35 h 219"/>
                <a:gd name="T52" fmla="*/ 305 w 322"/>
                <a:gd name="T53" fmla="*/ 42 h 219"/>
                <a:gd name="T54" fmla="*/ 301 w 322"/>
                <a:gd name="T55" fmla="*/ 50 h 219"/>
                <a:gd name="T56" fmla="*/ 218 w 322"/>
                <a:gd name="T57" fmla="*/ 102 h 219"/>
                <a:gd name="T58" fmla="*/ 203 w 322"/>
                <a:gd name="T59" fmla="*/ 87 h 219"/>
                <a:gd name="T60" fmla="*/ 122 w 322"/>
                <a:gd name="T61" fmla="*/ 169 h 219"/>
                <a:gd name="T62" fmla="*/ 115 w 322"/>
                <a:gd name="T63" fmla="*/ 191 h 219"/>
                <a:gd name="T64" fmla="*/ 137 w 322"/>
                <a:gd name="T65" fmla="*/ 184 h 219"/>
                <a:gd name="T66" fmla="*/ 218 w 322"/>
                <a:gd name="T67" fmla="*/ 102 h 219"/>
                <a:gd name="T68" fmla="*/ 279 w 322"/>
                <a:gd name="T69" fmla="*/ 42 h 219"/>
                <a:gd name="T70" fmla="*/ 264 w 322"/>
                <a:gd name="T71" fmla="*/ 27 h 219"/>
                <a:gd name="T72" fmla="*/ 218 w 322"/>
                <a:gd name="T73" fmla="*/ 72 h 219"/>
                <a:gd name="T74" fmla="*/ 234 w 322"/>
                <a:gd name="T75" fmla="*/ 87 h 219"/>
                <a:gd name="T76" fmla="*/ 279 w 322"/>
                <a:gd name="T77" fmla="*/ 42 h 219"/>
                <a:gd name="T78" fmla="*/ 318 w 322"/>
                <a:gd name="T79" fmla="*/ 82 h 219"/>
                <a:gd name="T80" fmla="*/ 302 w 322"/>
                <a:gd name="T81" fmla="*/ 82 h 219"/>
                <a:gd name="T82" fmla="*/ 260 w 322"/>
                <a:gd name="T83" fmla="*/ 125 h 219"/>
                <a:gd name="T84" fmla="*/ 260 w 322"/>
                <a:gd name="T85" fmla="*/ 140 h 219"/>
                <a:gd name="T86" fmla="*/ 267 w 322"/>
                <a:gd name="T87" fmla="*/ 143 h 219"/>
                <a:gd name="T88" fmla="*/ 275 w 322"/>
                <a:gd name="T89" fmla="*/ 140 h 219"/>
                <a:gd name="T90" fmla="*/ 318 w 322"/>
                <a:gd name="T91" fmla="*/ 98 h 219"/>
                <a:gd name="T92" fmla="*/ 318 w 322"/>
                <a:gd name="T93" fmla="*/ 82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2" h="219">
                  <a:moveTo>
                    <a:pt x="48" y="172"/>
                  </a:moveTo>
                  <a:cubicBezTo>
                    <a:pt x="48" y="177"/>
                    <a:pt x="56" y="185"/>
                    <a:pt x="60" y="188"/>
                  </a:cubicBezTo>
                  <a:cubicBezTo>
                    <a:pt x="65" y="191"/>
                    <a:pt x="66" y="198"/>
                    <a:pt x="63" y="203"/>
                  </a:cubicBezTo>
                  <a:cubicBezTo>
                    <a:pt x="61" y="206"/>
                    <a:pt x="57" y="207"/>
                    <a:pt x="54" y="207"/>
                  </a:cubicBezTo>
                  <a:cubicBezTo>
                    <a:pt x="52" y="207"/>
                    <a:pt x="50" y="207"/>
                    <a:pt x="48" y="205"/>
                  </a:cubicBezTo>
                  <a:cubicBezTo>
                    <a:pt x="46" y="204"/>
                    <a:pt x="25" y="189"/>
                    <a:pt x="27" y="171"/>
                  </a:cubicBezTo>
                  <a:cubicBezTo>
                    <a:pt x="28" y="160"/>
                    <a:pt x="35" y="151"/>
                    <a:pt x="50" y="144"/>
                  </a:cubicBezTo>
                  <a:cubicBezTo>
                    <a:pt x="70" y="135"/>
                    <a:pt x="81" y="121"/>
                    <a:pt x="79" y="114"/>
                  </a:cubicBezTo>
                  <a:cubicBezTo>
                    <a:pt x="77" y="107"/>
                    <a:pt x="61" y="96"/>
                    <a:pt x="12" y="101"/>
                  </a:cubicBezTo>
                  <a:cubicBezTo>
                    <a:pt x="6" y="101"/>
                    <a:pt x="1" y="97"/>
                    <a:pt x="1" y="91"/>
                  </a:cubicBezTo>
                  <a:cubicBezTo>
                    <a:pt x="0" y="85"/>
                    <a:pt x="5" y="80"/>
                    <a:pt x="10" y="79"/>
                  </a:cubicBezTo>
                  <a:cubicBezTo>
                    <a:pt x="80" y="73"/>
                    <a:pt x="96" y="95"/>
                    <a:pt x="99" y="108"/>
                  </a:cubicBezTo>
                  <a:cubicBezTo>
                    <a:pt x="105" y="128"/>
                    <a:pt x="88" y="150"/>
                    <a:pt x="58" y="164"/>
                  </a:cubicBezTo>
                  <a:cubicBezTo>
                    <a:pt x="52" y="167"/>
                    <a:pt x="48" y="170"/>
                    <a:pt x="48" y="172"/>
                  </a:cubicBezTo>
                  <a:close/>
                  <a:moveTo>
                    <a:pt x="301" y="50"/>
                  </a:moveTo>
                  <a:cubicBezTo>
                    <a:pt x="151" y="201"/>
                    <a:pt x="151" y="201"/>
                    <a:pt x="151" y="201"/>
                  </a:cubicBezTo>
                  <a:cubicBezTo>
                    <a:pt x="149" y="202"/>
                    <a:pt x="148" y="203"/>
                    <a:pt x="146" y="203"/>
                  </a:cubicBezTo>
                  <a:cubicBezTo>
                    <a:pt x="101" y="218"/>
                    <a:pt x="101" y="218"/>
                    <a:pt x="101" y="218"/>
                  </a:cubicBezTo>
                  <a:cubicBezTo>
                    <a:pt x="100" y="219"/>
                    <a:pt x="99" y="219"/>
                    <a:pt x="98" y="219"/>
                  </a:cubicBezTo>
                  <a:cubicBezTo>
                    <a:pt x="95" y="219"/>
                    <a:pt x="92" y="218"/>
                    <a:pt x="90" y="216"/>
                  </a:cubicBezTo>
                  <a:cubicBezTo>
                    <a:pt x="87" y="213"/>
                    <a:pt x="86" y="209"/>
                    <a:pt x="88" y="205"/>
                  </a:cubicBezTo>
                  <a:cubicBezTo>
                    <a:pt x="103" y="159"/>
                    <a:pt x="103" y="159"/>
                    <a:pt x="103" y="159"/>
                  </a:cubicBezTo>
                  <a:cubicBezTo>
                    <a:pt x="103" y="158"/>
                    <a:pt x="104" y="156"/>
                    <a:pt x="105" y="155"/>
                  </a:cubicBezTo>
                  <a:cubicBezTo>
                    <a:pt x="256" y="4"/>
                    <a:pt x="256" y="4"/>
                    <a:pt x="256" y="4"/>
                  </a:cubicBezTo>
                  <a:cubicBezTo>
                    <a:pt x="260" y="0"/>
                    <a:pt x="267" y="0"/>
                    <a:pt x="271" y="4"/>
                  </a:cubicBezTo>
                  <a:cubicBezTo>
                    <a:pt x="301" y="35"/>
                    <a:pt x="301" y="35"/>
                    <a:pt x="301" y="35"/>
                  </a:cubicBezTo>
                  <a:cubicBezTo>
                    <a:pt x="303" y="37"/>
                    <a:pt x="305" y="39"/>
                    <a:pt x="305" y="42"/>
                  </a:cubicBezTo>
                  <a:cubicBezTo>
                    <a:pt x="305" y="45"/>
                    <a:pt x="303" y="48"/>
                    <a:pt x="301" y="50"/>
                  </a:cubicBezTo>
                  <a:close/>
                  <a:moveTo>
                    <a:pt x="218" y="102"/>
                  </a:moveTo>
                  <a:cubicBezTo>
                    <a:pt x="203" y="87"/>
                    <a:pt x="203" y="87"/>
                    <a:pt x="203" y="87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15" y="191"/>
                    <a:pt x="115" y="191"/>
                    <a:pt x="115" y="191"/>
                  </a:cubicBezTo>
                  <a:cubicBezTo>
                    <a:pt x="137" y="184"/>
                    <a:pt x="137" y="184"/>
                    <a:pt x="137" y="184"/>
                  </a:cubicBezTo>
                  <a:lnTo>
                    <a:pt x="218" y="102"/>
                  </a:lnTo>
                  <a:close/>
                  <a:moveTo>
                    <a:pt x="279" y="42"/>
                  </a:moveTo>
                  <a:cubicBezTo>
                    <a:pt x="264" y="27"/>
                    <a:pt x="264" y="27"/>
                    <a:pt x="264" y="27"/>
                  </a:cubicBezTo>
                  <a:cubicBezTo>
                    <a:pt x="218" y="72"/>
                    <a:pt x="218" y="72"/>
                    <a:pt x="218" y="72"/>
                  </a:cubicBezTo>
                  <a:cubicBezTo>
                    <a:pt x="234" y="87"/>
                    <a:pt x="234" y="87"/>
                    <a:pt x="234" y="87"/>
                  </a:cubicBezTo>
                  <a:lnTo>
                    <a:pt x="279" y="42"/>
                  </a:lnTo>
                  <a:close/>
                  <a:moveTo>
                    <a:pt x="318" y="82"/>
                  </a:moveTo>
                  <a:cubicBezTo>
                    <a:pt x="313" y="78"/>
                    <a:pt x="307" y="78"/>
                    <a:pt x="302" y="82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6" y="129"/>
                    <a:pt x="256" y="136"/>
                    <a:pt x="260" y="140"/>
                  </a:cubicBezTo>
                  <a:cubicBezTo>
                    <a:pt x="262" y="142"/>
                    <a:pt x="265" y="143"/>
                    <a:pt x="267" y="143"/>
                  </a:cubicBezTo>
                  <a:cubicBezTo>
                    <a:pt x="270" y="143"/>
                    <a:pt x="273" y="142"/>
                    <a:pt x="275" y="140"/>
                  </a:cubicBezTo>
                  <a:cubicBezTo>
                    <a:pt x="318" y="98"/>
                    <a:pt x="318" y="98"/>
                    <a:pt x="318" y="98"/>
                  </a:cubicBezTo>
                  <a:cubicBezTo>
                    <a:pt x="322" y="93"/>
                    <a:pt x="322" y="87"/>
                    <a:pt x="318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  <p:sp>
          <p:nvSpPr>
            <p:cNvPr id="33" name="Freeform 245">
              <a:extLst>
                <a:ext uri="{FF2B5EF4-FFF2-40B4-BE49-F238E27FC236}">
                  <a16:creationId xmlns:a16="http://schemas.microsoft.com/office/drawing/2014/main" id="{C18E3DF4-0305-797C-4AAA-3090F12679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76" y="785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dirty="0"/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C00FA6CE-73FB-9A29-97AA-AEC421B4C4BD}"/>
              </a:ext>
            </a:extLst>
          </p:cNvPr>
          <p:cNvSpPr txBox="1"/>
          <p:nvPr/>
        </p:nvSpPr>
        <p:spPr>
          <a:xfrm>
            <a:off x="8389775" y="1683181"/>
            <a:ext cx="3060000" cy="36000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0" lvl="2" indent="0">
              <a:buNone/>
            </a:pPr>
            <a:r>
              <a:rPr lang="cs-CZ" sz="1600" i="1" dirty="0"/>
              <a:t>Nepodepisuje se</a:t>
            </a:r>
          </a:p>
        </p:txBody>
      </p:sp>
      <p:sp>
        <p:nvSpPr>
          <p:cNvPr id="35" name="Cross 34">
            <a:extLst>
              <a:ext uri="{FF2B5EF4-FFF2-40B4-BE49-F238E27FC236}">
                <a16:creationId xmlns:a16="http://schemas.microsoft.com/office/drawing/2014/main" id="{84B90775-E77F-A0B1-4AFD-BD8A8BBE2730}"/>
              </a:ext>
            </a:extLst>
          </p:cNvPr>
          <p:cNvSpPr/>
          <p:nvPr/>
        </p:nvSpPr>
        <p:spPr bwMode="gray">
          <a:xfrm rot="2824204">
            <a:off x="7920887" y="1651894"/>
            <a:ext cx="432000" cy="432000"/>
          </a:xfrm>
          <a:prstGeom prst="plus">
            <a:avLst>
              <a:gd name="adj" fmla="val 46834"/>
            </a:avLst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F5DDCB1-BF6C-7D82-2EF1-B15B589B24E8}"/>
              </a:ext>
            </a:extLst>
          </p:cNvPr>
          <p:cNvSpPr txBox="1"/>
          <p:nvPr/>
        </p:nvSpPr>
        <p:spPr>
          <a:xfrm>
            <a:off x="6679743" y="3296274"/>
            <a:ext cx="4644000" cy="771525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/>
            <a:r>
              <a:rPr lang="cs-CZ" sz="1600" b="1" dirty="0"/>
              <a:t>Centrální prvky C-ITS poskytovány bezplatně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AABDA9A-7064-76F0-C719-C25FA2FB007E}"/>
              </a:ext>
            </a:extLst>
          </p:cNvPr>
          <p:cNvSpPr txBox="1"/>
          <p:nvPr/>
        </p:nvSpPr>
        <p:spPr>
          <a:xfrm>
            <a:off x="6445678" y="3809026"/>
            <a:ext cx="4644000" cy="771525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71450" lvl="1" indent="-171450">
              <a:spcBef>
                <a:spcPts val="200"/>
              </a:spcBef>
              <a:spcAft>
                <a:spcPts val="200"/>
              </a:spcAft>
              <a:buFontTx/>
              <a:buChar char="-"/>
              <a:defRPr sz="1200" b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marL="0" lvl="1" indent="0">
              <a:buNone/>
            </a:pPr>
            <a:r>
              <a:rPr lang="cs-CZ" sz="1600" dirty="0"/>
              <a:t>Podmínky je možné aktualizovat, o jejich změně budete informováni alespoň 90 dnů v předstihu.</a:t>
            </a:r>
          </a:p>
        </p:txBody>
      </p:sp>
    </p:spTree>
    <p:extLst>
      <p:ext uri="{BB962C8B-B14F-4D97-AF65-F5344CB8AC3E}">
        <p14:creationId xmlns:p14="http://schemas.microsoft.com/office/powerpoint/2010/main" val="1924370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60A859A9-7912-3682-9628-0F3AB9AE0C6F}"/>
              </a:ext>
            </a:extLst>
          </p:cNvPr>
          <p:cNvSpPr/>
          <p:nvPr/>
        </p:nvSpPr>
        <p:spPr>
          <a:xfrm>
            <a:off x="611895" y="3644308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62B1398-C6AE-1318-25FF-419E00B2AB7E}"/>
              </a:ext>
            </a:extLst>
          </p:cNvPr>
          <p:cNvSpPr txBox="1"/>
          <p:nvPr/>
        </p:nvSpPr>
        <p:spPr>
          <a:xfrm>
            <a:off x="899382" y="3594562"/>
            <a:ext cx="10800000" cy="591673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cs-CZ" sz="1600" dirty="0"/>
              <a:t>Žadatel odevzdá Žádost k registraci subjektu                           (včetně jeho příloh) Provozovateli Centrálních prvků C-ITS (ŘSD).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C65EEA6-337D-61D9-01C0-D7976A66F3C9}"/>
              </a:ext>
            </a:extLst>
          </p:cNvPr>
          <p:cNvSpPr/>
          <p:nvPr/>
        </p:nvSpPr>
        <p:spPr>
          <a:xfrm>
            <a:off x="611895" y="4219448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80B934-1321-DAAA-DF8B-C74374228C2A}"/>
              </a:ext>
            </a:extLst>
          </p:cNvPr>
          <p:cNvSpPr txBox="1"/>
          <p:nvPr/>
        </p:nvSpPr>
        <p:spPr>
          <a:xfrm>
            <a:off x="897279" y="4168068"/>
            <a:ext cx="10800000" cy="477522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cs-CZ" sz="1600" b="0" dirty="0"/>
              <a:t>Provozovatel Centrálních prvků C-ITS</a:t>
            </a:r>
            <a:r>
              <a:rPr lang="cs-CZ" sz="1600" dirty="0"/>
              <a:t> (ŘSD) ověří, že byly splněny podmínky Provozovatele Centrálních prvků C-ITS.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273E68BB-BFE8-9C2C-4EFD-4CE900FDEC91}"/>
              </a:ext>
            </a:extLst>
          </p:cNvPr>
          <p:cNvSpPr/>
          <p:nvPr/>
        </p:nvSpPr>
        <p:spPr>
          <a:xfrm>
            <a:off x="611895" y="4740773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EBD6BAC-E7BA-0525-7130-E111123DC540}"/>
              </a:ext>
            </a:extLst>
          </p:cNvPr>
          <p:cNvSpPr txBox="1"/>
          <p:nvPr/>
        </p:nvSpPr>
        <p:spPr>
          <a:xfrm>
            <a:off x="905189" y="4689966"/>
            <a:ext cx="10800000" cy="689420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lvl="1">
              <a:spcBef>
                <a:spcPts val="200"/>
              </a:spcBef>
              <a:spcAft>
                <a:spcPts val="200"/>
              </a:spcAft>
            </a:pPr>
            <a:r>
              <a:rPr lang="cs-CZ" sz="1600" b="0" dirty="0"/>
              <a:t>Provozovatel Centrálních prvků C-ITS </a:t>
            </a:r>
            <a:r>
              <a:rPr lang="cs-CZ" sz="1600" dirty="0"/>
              <a:t>(ŘSD) uzavírá smlouvu o zpracování osobních údajů (                                ) se subjektem dle doporučení Napojeného subjektu </a:t>
            </a:r>
            <a:r>
              <a:rPr lang="cs-CZ" sz="1600" b="0" dirty="0"/>
              <a:t>(pokud má přístup k osobním údajům).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E36997F8-51C9-7508-69CB-C4E30BB0D67C}"/>
              </a:ext>
            </a:extLst>
          </p:cNvPr>
          <p:cNvSpPr/>
          <p:nvPr/>
        </p:nvSpPr>
        <p:spPr>
          <a:xfrm>
            <a:off x="611895" y="5401933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7327B8A-C36A-A8E7-A0B4-0A07C247046A}"/>
              </a:ext>
            </a:extLst>
          </p:cNvPr>
          <p:cNvSpPr txBox="1"/>
          <p:nvPr/>
        </p:nvSpPr>
        <p:spPr>
          <a:xfrm>
            <a:off x="897279" y="5351126"/>
            <a:ext cx="10800000" cy="530915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algn="just" defTabSz="914418">
              <a:spcBef>
                <a:spcPts val="300"/>
              </a:spcBef>
              <a:defRPr/>
            </a:pPr>
            <a:r>
              <a:rPr lang="cs-CZ" sz="1600" b="0" dirty="0">
                <a:latin typeface="Calibri" panose="020F0502020204030204" pitchFamily="34" charset="0"/>
                <a:cs typeface="Calibri" panose="020F0502020204030204" pitchFamily="34" charset="0"/>
              </a:rPr>
              <a:t>Provozovatel Centrálních prvků C-ITS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(ŘSD) oznamuje zapojení dalšího Napojeného subjektu na Centrální prvky C-ITS.</a:t>
            </a:r>
          </a:p>
        </p:txBody>
      </p:sp>
      <p:sp>
        <p:nvSpPr>
          <p:cNvPr id="61" name="Rounded Rectangle 35">
            <a:extLst>
              <a:ext uri="{FF2B5EF4-FFF2-40B4-BE49-F238E27FC236}">
                <a16:creationId xmlns:a16="http://schemas.microsoft.com/office/drawing/2014/main" id="{3889848B-BE64-799C-29E2-642692A43761}"/>
              </a:ext>
            </a:extLst>
          </p:cNvPr>
          <p:cNvSpPr/>
          <p:nvPr/>
        </p:nvSpPr>
        <p:spPr bwMode="auto">
          <a:xfrm>
            <a:off x="4671639" y="3560669"/>
            <a:ext cx="1152000" cy="432000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cs-CZ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strační formulář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Rounded Rectangle 35">
            <a:extLst>
              <a:ext uri="{FF2B5EF4-FFF2-40B4-BE49-F238E27FC236}">
                <a16:creationId xmlns:a16="http://schemas.microsoft.com/office/drawing/2014/main" id="{7C2C2D1B-502F-625F-B950-7DFD6D1B4F6D}"/>
              </a:ext>
            </a:extLst>
          </p:cNvPr>
          <p:cNvSpPr/>
          <p:nvPr/>
        </p:nvSpPr>
        <p:spPr bwMode="auto">
          <a:xfrm>
            <a:off x="8514895" y="4668587"/>
            <a:ext cx="1476000" cy="432000"/>
          </a:xfrm>
          <a:prstGeom prst="round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rgbClr val="000066"/>
              </a:buClr>
            </a:pPr>
            <a:r>
              <a:rPr lang="cs-CZ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pracovatelská smlouva</a:t>
            </a: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88092C7E-AC24-264D-1B17-6E485E8BC60E}"/>
              </a:ext>
            </a:extLst>
          </p:cNvPr>
          <p:cNvSpPr/>
          <p:nvPr/>
        </p:nvSpPr>
        <p:spPr>
          <a:xfrm>
            <a:off x="611895" y="5914732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417F75-7FC7-D11C-BD37-3D476C671048}"/>
              </a:ext>
            </a:extLst>
          </p:cNvPr>
          <p:cNvSpPr txBox="1"/>
          <p:nvPr/>
        </p:nvSpPr>
        <p:spPr>
          <a:xfrm>
            <a:off x="897279" y="5865274"/>
            <a:ext cx="10800000" cy="530915"/>
          </a:xfrm>
          <a:prstGeom prst="rect">
            <a:avLst/>
          </a:prstGeom>
          <a:noFill/>
        </p:spPr>
        <p:txBody>
          <a:bodyPr wrap="square" lIns="36000" tIns="36000" rIns="36000" bIns="36000" rtlCol="0" anchor="t">
            <a:noAutofit/>
          </a:bodyPr>
          <a:lstStyle>
            <a:defPPr>
              <a:defRPr lang="en-US"/>
            </a:defPPr>
            <a:lvl1pPr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lvl="1">
              <a:spcAft>
                <a:spcPts val="300"/>
              </a:spcAft>
              <a:defRPr sz="1300" b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628650" lvl="2" indent="-171450">
              <a:spcAft>
                <a:spcPts val="300"/>
              </a:spcAft>
              <a:buFontTx/>
              <a:buChar char="-"/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</a:lstStyle>
          <a:p>
            <a:pPr algn="just" defTabSz="914418">
              <a:spcBef>
                <a:spcPts val="300"/>
              </a:spcBef>
              <a:defRPr/>
            </a:pP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Napojený subjekt je oprávněn k technické registraci. </a:t>
            </a:r>
          </a:p>
          <a:p>
            <a:pPr algn="just" defTabSz="914418">
              <a:spcBef>
                <a:spcPts val="300"/>
              </a:spcBef>
              <a:defRPr/>
            </a:pPr>
            <a:r>
              <a:rPr lang="cs-CZ" sz="1600" b="0" dirty="0"/>
              <a:t>Technickou registraci zajišťuje Poskytovatel Centrálních prvků C-ITS (INTENS/ </a:t>
            </a:r>
            <a:r>
              <a:rPr lang="cs-CZ" sz="1600" b="0" dirty="0" err="1"/>
              <a:t>TeskaLabs</a:t>
            </a:r>
            <a:r>
              <a:rPr lang="cs-CZ" sz="1600" b="0" dirty="0"/>
              <a:t>). </a:t>
            </a:r>
            <a:endParaRPr lang="cs-CZ" sz="1600" b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Title 3">
            <a:extLst>
              <a:ext uri="{FF2B5EF4-FFF2-40B4-BE49-F238E27FC236}">
                <a16:creationId xmlns:a16="http://schemas.microsoft.com/office/drawing/2014/main" id="{BDB1FD08-C688-D789-B3BB-56B43ED9BD5C}"/>
              </a:ext>
            </a:extLst>
          </p:cNvPr>
          <p:cNvSpPr txBox="1">
            <a:spLocks/>
          </p:cNvSpPr>
          <p:nvPr/>
        </p:nvSpPr>
        <p:spPr bwMode="gray">
          <a:xfrm>
            <a:off x="602374" y="322943"/>
            <a:ext cx="10091026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Proces napojení Žadatelů k Centrálním prvkům C-ITS</a:t>
            </a:r>
          </a:p>
        </p:txBody>
      </p:sp>
      <p:sp>
        <p:nvSpPr>
          <p:cNvPr id="273" name="Freeform 761">
            <a:extLst>
              <a:ext uri="{FF2B5EF4-FFF2-40B4-BE49-F238E27FC236}">
                <a16:creationId xmlns:a16="http://schemas.microsoft.com/office/drawing/2014/main" id="{4037FD5A-2CE7-9662-9866-7DAA34187E6C}"/>
              </a:ext>
            </a:extLst>
          </p:cNvPr>
          <p:cNvSpPr>
            <a:spLocks noEditPoints="1"/>
          </p:cNvSpPr>
          <p:nvPr/>
        </p:nvSpPr>
        <p:spPr bwMode="auto">
          <a:xfrm>
            <a:off x="929623" y="1466300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6B615985-0BE7-4030-B4EA-C66ED32CC7C7}"/>
              </a:ext>
            </a:extLst>
          </p:cNvPr>
          <p:cNvSpPr/>
          <p:nvPr/>
        </p:nvSpPr>
        <p:spPr>
          <a:xfrm>
            <a:off x="3033236" y="2093798"/>
            <a:ext cx="1748916" cy="494028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12169"/>
                </a:solidFill>
                <a:cs typeface="Calibri" panose="020F0502020204030204" pitchFamily="34" charset="0"/>
              </a:rPr>
              <a:t>Provozovatel Centrálních prvků C-ITS</a:t>
            </a: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244D4408-6AED-2764-BC91-FEBFA2E631F4}"/>
              </a:ext>
            </a:extLst>
          </p:cNvPr>
          <p:cNvSpPr/>
          <p:nvPr/>
        </p:nvSpPr>
        <p:spPr>
          <a:xfrm>
            <a:off x="745571" y="1706780"/>
            <a:ext cx="888264" cy="250162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12169"/>
                </a:solidFill>
                <a:cs typeface="Calibri" panose="020F0502020204030204" pitchFamily="34" charset="0"/>
              </a:rPr>
              <a:t>Žadatel</a:t>
            </a:r>
          </a:p>
        </p:txBody>
      </p: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D0BB18F6-C7CC-4703-016C-3EA8EE73423B}"/>
              </a:ext>
            </a:extLst>
          </p:cNvPr>
          <p:cNvCxnSpPr>
            <a:cxnSpLocks/>
          </p:cNvCxnSpPr>
          <p:nvPr/>
        </p:nvCxnSpPr>
        <p:spPr>
          <a:xfrm flipV="1">
            <a:off x="1624056" y="1730396"/>
            <a:ext cx="1152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tailEnd type="triangle"/>
          </a:ln>
          <a:effectLst/>
        </p:spPr>
      </p:cxnSp>
      <p:sp>
        <p:nvSpPr>
          <p:cNvPr id="277" name="Oval 276">
            <a:extLst>
              <a:ext uri="{FF2B5EF4-FFF2-40B4-BE49-F238E27FC236}">
                <a16:creationId xmlns:a16="http://schemas.microsoft.com/office/drawing/2014/main" id="{458D70F9-9D1D-D7A5-0944-8CA81EE64EC3}"/>
              </a:ext>
            </a:extLst>
          </p:cNvPr>
          <p:cNvSpPr/>
          <p:nvPr/>
        </p:nvSpPr>
        <p:spPr>
          <a:xfrm>
            <a:off x="1770444" y="1616005"/>
            <a:ext cx="216000" cy="216000"/>
          </a:xfrm>
          <a:prstGeom prst="ellips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1</a:t>
            </a:r>
          </a:p>
        </p:txBody>
      </p: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64559A5D-6F03-82EA-8783-0898E0842853}"/>
              </a:ext>
            </a:extLst>
          </p:cNvPr>
          <p:cNvCxnSpPr>
            <a:cxnSpLocks/>
          </p:cNvCxnSpPr>
          <p:nvPr/>
        </p:nvCxnSpPr>
        <p:spPr>
          <a:xfrm flipV="1">
            <a:off x="4093758" y="1939468"/>
            <a:ext cx="612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tailEnd type="triangle"/>
          </a:ln>
          <a:effectLst/>
        </p:spPr>
      </p:cxnSp>
      <p:sp>
        <p:nvSpPr>
          <p:cNvPr id="279" name="Oval 278">
            <a:extLst>
              <a:ext uri="{FF2B5EF4-FFF2-40B4-BE49-F238E27FC236}">
                <a16:creationId xmlns:a16="http://schemas.microsoft.com/office/drawing/2014/main" id="{7AE5431A-9BB9-7182-821E-D4624FBD0409}"/>
              </a:ext>
            </a:extLst>
          </p:cNvPr>
          <p:cNvSpPr/>
          <p:nvPr/>
        </p:nvSpPr>
        <p:spPr>
          <a:xfrm>
            <a:off x="4594109" y="1825077"/>
            <a:ext cx="216000" cy="216000"/>
          </a:xfrm>
          <a:prstGeom prst="ellips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5</a:t>
            </a:r>
          </a:p>
        </p:txBody>
      </p:sp>
      <p:grpSp>
        <p:nvGrpSpPr>
          <p:cNvPr id="280" name="Group 979">
            <a:extLst>
              <a:ext uri="{FF2B5EF4-FFF2-40B4-BE49-F238E27FC236}">
                <a16:creationId xmlns:a16="http://schemas.microsoft.com/office/drawing/2014/main" id="{75EDCA31-4FFF-07AF-C10C-9897A5B26F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93630" y="1108180"/>
            <a:ext cx="321162" cy="288000"/>
            <a:chOff x="2110" y="4320"/>
            <a:chExt cx="184" cy="165"/>
          </a:xfrm>
          <a:solidFill>
            <a:srgbClr val="75787B"/>
          </a:solidFill>
        </p:grpSpPr>
        <p:sp>
          <p:nvSpPr>
            <p:cNvPr id="281" name="Freeform 981">
              <a:extLst>
                <a:ext uri="{FF2B5EF4-FFF2-40B4-BE49-F238E27FC236}">
                  <a16:creationId xmlns:a16="http://schemas.microsoft.com/office/drawing/2014/main" id="{BE6F8058-5B1A-C12A-3C6F-37D47E21C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0" y="4471"/>
              <a:ext cx="99" cy="14"/>
            </a:xfrm>
            <a:custGeom>
              <a:avLst/>
              <a:gdLst>
                <a:gd name="T0" fmla="*/ 139 w 149"/>
                <a:gd name="T1" fmla="*/ 0 h 21"/>
                <a:gd name="T2" fmla="*/ 11 w 149"/>
                <a:gd name="T3" fmla="*/ 0 h 21"/>
                <a:gd name="T4" fmla="*/ 0 w 149"/>
                <a:gd name="T5" fmla="*/ 10 h 21"/>
                <a:gd name="T6" fmla="*/ 11 w 149"/>
                <a:gd name="T7" fmla="*/ 21 h 21"/>
                <a:gd name="T8" fmla="*/ 139 w 149"/>
                <a:gd name="T9" fmla="*/ 21 h 21"/>
                <a:gd name="T10" fmla="*/ 149 w 149"/>
                <a:gd name="T11" fmla="*/ 10 h 21"/>
                <a:gd name="T12" fmla="*/ 139 w 149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1">
                  <a:moveTo>
                    <a:pt x="139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6"/>
                    <a:pt x="5" y="21"/>
                    <a:pt x="11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5" y="21"/>
                    <a:pt x="149" y="16"/>
                    <a:pt x="149" y="10"/>
                  </a:cubicBezTo>
                  <a:cubicBezTo>
                    <a:pt x="149" y="4"/>
                    <a:pt x="145" y="0"/>
                    <a:pt x="13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282" name="Freeform 982">
              <a:extLst>
                <a:ext uri="{FF2B5EF4-FFF2-40B4-BE49-F238E27FC236}">
                  <a16:creationId xmlns:a16="http://schemas.microsoft.com/office/drawing/2014/main" id="{0C89B002-5679-3D8D-71E3-9EA8804A91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0" y="4320"/>
              <a:ext cx="164" cy="165"/>
            </a:xfrm>
            <a:custGeom>
              <a:avLst/>
              <a:gdLst>
                <a:gd name="T0" fmla="*/ 244 w 248"/>
                <a:gd name="T1" fmla="*/ 230 h 248"/>
                <a:gd name="T2" fmla="*/ 148 w 248"/>
                <a:gd name="T3" fmla="*/ 132 h 248"/>
                <a:gd name="T4" fmla="*/ 148 w 248"/>
                <a:gd name="T5" fmla="*/ 132 h 248"/>
                <a:gd name="T6" fmla="*/ 185 w 248"/>
                <a:gd name="T7" fmla="*/ 95 h 248"/>
                <a:gd name="T8" fmla="*/ 193 w 248"/>
                <a:gd name="T9" fmla="*/ 98 h 248"/>
                <a:gd name="T10" fmla="*/ 200 w 248"/>
                <a:gd name="T11" fmla="*/ 95 h 248"/>
                <a:gd name="T12" fmla="*/ 200 w 248"/>
                <a:gd name="T13" fmla="*/ 79 h 248"/>
                <a:gd name="T14" fmla="*/ 125 w 248"/>
                <a:gd name="T15" fmla="*/ 4 h 248"/>
                <a:gd name="T16" fmla="*/ 110 w 248"/>
                <a:gd name="T17" fmla="*/ 4 h 248"/>
                <a:gd name="T18" fmla="*/ 110 w 248"/>
                <a:gd name="T19" fmla="*/ 19 h 248"/>
                <a:gd name="T20" fmla="*/ 19 w 248"/>
                <a:gd name="T21" fmla="*/ 110 h 248"/>
                <a:gd name="T22" fmla="*/ 4 w 248"/>
                <a:gd name="T23" fmla="*/ 110 h 248"/>
                <a:gd name="T24" fmla="*/ 4 w 248"/>
                <a:gd name="T25" fmla="*/ 125 h 248"/>
                <a:gd name="T26" fmla="*/ 80 w 248"/>
                <a:gd name="T27" fmla="*/ 200 h 248"/>
                <a:gd name="T28" fmla="*/ 87 w 248"/>
                <a:gd name="T29" fmla="*/ 203 h 248"/>
                <a:gd name="T30" fmla="*/ 95 w 248"/>
                <a:gd name="T31" fmla="*/ 200 h 248"/>
                <a:gd name="T32" fmla="*/ 95 w 248"/>
                <a:gd name="T33" fmla="*/ 185 h 248"/>
                <a:gd name="T34" fmla="*/ 95 w 248"/>
                <a:gd name="T35" fmla="*/ 185 h 248"/>
                <a:gd name="T36" fmla="*/ 132 w 248"/>
                <a:gd name="T37" fmla="*/ 147 h 248"/>
                <a:gd name="T38" fmla="*/ 229 w 248"/>
                <a:gd name="T39" fmla="*/ 245 h 248"/>
                <a:gd name="T40" fmla="*/ 237 w 248"/>
                <a:gd name="T41" fmla="*/ 248 h 248"/>
                <a:gd name="T42" fmla="*/ 244 w 248"/>
                <a:gd name="T43" fmla="*/ 245 h 248"/>
                <a:gd name="T44" fmla="*/ 244 w 248"/>
                <a:gd name="T45" fmla="*/ 230 h 248"/>
                <a:gd name="T46" fmla="*/ 34 w 248"/>
                <a:gd name="T47" fmla="*/ 125 h 248"/>
                <a:gd name="T48" fmla="*/ 125 w 248"/>
                <a:gd name="T49" fmla="*/ 34 h 248"/>
                <a:gd name="T50" fmla="*/ 170 w 248"/>
                <a:gd name="T51" fmla="*/ 79 h 248"/>
                <a:gd name="T52" fmla="*/ 80 w 248"/>
                <a:gd name="T53" fmla="*/ 170 h 248"/>
                <a:gd name="T54" fmla="*/ 34 w 248"/>
                <a:gd name="T55" fmla="*/ 12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8" h="248">
                  <a:moveTo>
                    <a:pt x="244" y="230"/>
                  </a:moveTo>
                  <a:cubicBezTo>
                    <a:pt x="148" y="132"/>
                    <a:pt x="148" y="132"/>
                    <a:pt x="148" y="132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85" y="95"/>
                    <a:pt x="185" y="95"/>
                    <a:pt x="185" y="95"/>
                  </a:cubicBezTo>
                  <a:cubicBezTo>
                    <a:pt x="187" y="97"/>
                    <a:pt x="190" y="98"/>
                    <a:pt x="193" y="98"/>
                  </a:cubicBezTo>
                  <a:cubicBezTo>
                    <a:pt x="196" y="98"/>
                    <a:pt x="198" y="97"/>
                    <a:pt x="200" y="95"/>
                  </a:cubicBezTo>
                  <a:cubicBezTo>
                    <a:pt x="205" y="90"/>
                    <a:pt x="205" y="84"/>
                    <a:pt x="200" y="79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1" y="0"/>
                    <a:pt x="114" y="0"/>
                    <a:pt x="110" y="4"/>
                  </a:cubicBezTo>
                  <a:cubicBezTo>
                    <a:pt x="106" y="8"/>
                    <a:pt x="106" y="15"/>
                    <a:pt x="110" y="19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5" y="105"/>
                    <a:pt x="8" y="105"/>
                    <a:pt x="4" y="110"/>
                  </a:cubicBezTo>
                  <a:cubicBezTo>
                    <a:pt x="0" y="114"/>
                    <a:pt x="0" y="121"/>
                    <a:pt x="4" y="125"/>
                  </a:cubicBezTo>
                  <a:cubicBezTo>
                    <a:pt x="80" y="200"/>
                    <a:pt x="80" y="200"/>
                    <a:pt x="80" y="200"/>
                  </a:cubicBezTo>
                  <a:cubicBezTo>
                    <a:pt x="82" y="202"/>
                    <a:pt x="84" y="203"/>
                    <a:pt x="87" y="203"/>
                  </a:cubicBezTo>
                  <a:cubicBezTo>
                    <a:pt x="90" y="203"/>
                    <a:pt x="93" y="202"/>
                    <a:pt x="95" y="200"/>
                  </a:cubicBezTo>
                  <a:cubicBezTo>
                    <a:pt x="99" y="196"/>
                    <a:pt x="99" y="189"/>
                    <a:pt x="95" y="185"/>
                  </a:cubicBezTo>
                  <a:cubicBezTo>
                    <a:pt x="95" y="185"/>
                    <a:pt x="95" y="185"/>
                    <a:pt x="95" y="185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229" y="245"/>
                    <a:pt x="229" y="245"/>
                    <a:pt x="229" y="245"/>
                  </a:cubicBezTo>
                  <a:cubicBezTo>
                    <a:pt x="231" y="247"/>
                    <a:pt x="234" y="248"/>
                    <a:pt x="237" y="248"/>
                  </a:cubicBezTo>
                  <a:cubicBezTo>
                    <a:pt x="239" y="248"/>
                    <a:pt x="242" y="247"/>
                    <a:pt x="244" y="245"/>
                  </a:cubicBezTo>
                  <a:cubicBezTo>
                    <a:pt x="248" y="241"/>
                    <a:pt x="248" y="234"/>
                    <a:pt x="244" y="230"/>
                  </a:cubicBezTo>
                  <a:close/>
                  <a:moveTo>
                    <a:pt x="34" y="125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80" y="170"/>
                    <a:pt x="80" y="170"/>
                    <a:pt x="80" y="170"/>
                  </a:cubicBezTo>
                  <a:lnTo>
                    <a:pt x="34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cxnSp>
        <p:nvCxnSpPr>
          <p:cNvPr id="283" name="Straight Arrow Connector 282">
            <a:extLst>
              <a:ext uri="{FF2B5EF4-FFF2-40B4-BE49-F238E27FC236}">
                <a16:creationId xmlns:a16="http://schemas.microsoft.com/office/drawing/2014/main" id="{C398872B-0FD5-0564-4202-5C8483C790F4}"/>
              </a:ext>
            </a:extLst>
          </p:cNvPr>
          <p:cNvCxnSpPr>
            <a:cxnSpLocks/>
          </p:cNvCxnSpPr>
          <p:nvPr/>
        </p:nvCxnSpPr>
        <p:spPr>
          <a:xfrm flipH="1">
            <a:off x="3669941" y="1427313"/>
            <a:ext cx="0" cy="43200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284" name="Straight Arrow Connector 283">
            <a:extLst>
              <a:ext uri="{FF2B5EF4-FFF2-40B4-BE49-F238E27FC236}">
                <a16:creationId xmlns:a16="http://schemas.microsoft.com/office/drawing/2014/main" id="{7BBAEF55-F856-71C6-5D29-23B723E9E951}"/>
              </a:ext>
            </a:extLst>
          </p:cNvPr>
          <p:cNvCxnSpPr>
            <a:cxnSpLocks/>
          </p:cNvCxnSpPr>
          <p:nvPr/>
        </p:nvCxnSpPr>
        <p:spPr>
          <a:xfrm flipH="1">
            <a:off x="1572787" y="2358593"/>
            <a:ext cx="1152000" cy="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5" name="Oval 284">
            <a:extLst>
              <a:ext uri="{FF2B5EF4-FFF2-40B4-BE49-F238E27FC236}">
                <a16:creationId xmlns:a16="http://schemas.microsoft.com/office/drawing/2014/main" id="{73C295BB-9CD7-7926-AC4A-080E9813FB1C}"/>
              </a:ext>
            </a:extLst>
          </p:cNvPr>
          <p:cNvSpPr/>
          <p:nvPr/>
        </p:nvSpPr>
        <p:spPr>
          <a:xfrm>
            <a:off x="1752787" y="2232812"/>
            <a:ext cx="216000" cy="216000"/>
          </a:xfrm>
          <a:prstGeom prst="ellips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86" name="Rectangle 285">
            <a:extLst>
              <a:ext uri="{FF2B5EF4-FFF2-40B4-BE49-F238E27FC236}">
                <a16:creationId xmlns:a16="http://schemas.microsoft.com/office/drawing/2014/main" id="{D33B2F37-15C3-8446-3E4A-60306B96848B}"/>
              </a:ext>
            </a:extLst>
          </p:cNvPr>
          <p:cNvSpPr/>
          <p:nvPr/>
        </p:nvSpPr>
        <p:spPr>
          <a:xfrm>
            <a:off x="3549701" y="1122829"/>
            <a:ext cx="1224000" cy="258702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75787B"/>
                </a:solidFill>
                <a:cs typeface="Calibri" panose="020F0502020204030204" pitchFamily="34" charset="0"/>
              </a:rPr>
              <a:t>Kontrola</a:t>
            </a:r>
          </a:p>
        </p:txBody>
      </p:sp>
      <p:sp>
        <p:nvSpPr>
          <p:cNvPr id="287" name="Freeform 818">
            <a:extLst>
              <a:ext uri="{FF2B5EF4-FFF2-40B4-BE49-F238E27FC236}">
                <a16:creationId xmlns:a16="http://schemas.microsoft.com/office/drawing/2014/main" id="{FCC1DB2A-2A9D-6CA3-277A-A7116EB9A686}"/>
              </a:ext>
            </a:extLst>
          </p:cNvPr>
          <p:cNvSpPr>
            <a:spLocks noEditPoints="1"/>
          </p:cNvSpPr>
          <p:nvPr/>
        </p:nvSpPr>
        <p:spPr bwMode="auto">
          <a:xfrm>
            <a:off x="3201041" y="1792474"/>
            <a:ext cx="252000" cy="288000"/>
          </a:xfrm>
          <a:custGeom>
            <a:avLst/>
            <a:gdLst>
              <a:gd name="T0" fmla="*/ 86 w 299"/>
              <a:gd name="T1" fmla="*/ 64 h 298"/>
              <a:gd name="T2" fmla="*/ 118 w 299"/>
              <a:gd name="T3" fmla="*/ 32 h 298"/>
              <a:gd name="T4" fmla="*/ 86 w 299"/>
              <a:gd name="T5" fmla="*/ 0 h 298"/>
              <a:gd name="T6" fmla="*/ 54 w 299"/>
              <a:gd name="T7" fmla="*/ 32 h 298"/>
              <a:gd name="T8" fmla="*/ 86 w 299"/>
              <a:gd name="T9" fmla="*/ 64 h 298"/>
              <a:gd name="T10" fmla="*/ 86 w 299"/>
              <a:gd name="T11" fmla="*/ 21 h 298"/>
              <a:gd name="T12" fmla="*/ 96 w 299"/>
              <a:gd name="T13" fmla="*/ 32 h 298"/>
              <a:gd name="T14" fmla="*/ 86 w 299"/>
              <a:gd name="T15" fmla="*/ 42 h 298"/>
              <a:gd name="T16" fmla="*/ 75 w 299"/>
              <a:gd name="T17" fmla="*/ 32 h 298"/>
              <a:gd name="T18" fmla="*/ 86 w 299"/>
              <a:gd name="T19" fmla="*/ 21 h 298"/>
              <a:gd name="T20" fmla="*/ 288 w 299"/>
              <a:gd name="T21" fmla="*/ 149 h 298"/>
              <a:gd name="T22" fmla="*/ 267 w 299"/>
              <a:gd name="T23" fmla="*/ 149 h 298"/>
              <a:gd name="T24" fmla="*/ 267 w 299"/>
              <a:gd name="T25" fmla="*/ 96 h 298"/>
              <a:gd name="T26" fmla="*/ 256 w 299"/>
              <a:gd name="T27" fmla="*/ 85 h 298"/>
              <a:gd name="T28" fmla="*/ 171 w 299"/>
              <a:gd name="T29" fmla="*/ 85 h 298"/>
              <a:gd name="T30" fmla="*/ 160 w 299"/>
              <a:gd name="T31" fmla="*/ 96 h 298"/>
              <a:gd name="T32" fmla="*/ 160 w 299"/>
              <a:gd name="T33" fmla="*/ 149 h 298"/>
              <a:gd name="T34" fmla="*/ 139 w 299"/>
              <a:gd name="T35" fmla="*/ 149 h 298"/>
              <a:gd name="T36" fmla="*/ 139 w 299"/>
              <a:gd name="T37" fmla="*/ 96 h 298"/>
              <a:gd name="T38" fmla="*/ 128 w 299"/>
              <a:gd name="T39" fmla="*/ 85 h 298"/>
              <a:gd name="T40" fmla="*/ 43 w 299"/>
              <a:gd name="T41" fmla="*/ 85 h 298"/>
              <a:gd name="T42" fmla="*/ 32 w 299"/>
              <a:gd name="T43" fmla="*/ 96 h 298"/>
              <a:gd name="T44" fmla="*/ 32 w 299"/>
              <a:gd name="T45" fmla="*/ 149 h 298"/>
              <a:gd name="T46" fmla="*/ 11 w 299"/>
              <a:gd name="T47" fmla="*/ 149 h 298"/>
              <a:gd name="T48" fmla="*/ 0 w 299"/>
              <a:gd name="T49" fmla="*/ 160 h 298"/>
              <a:gd name="T50" fmla="*/ 11 w 299"/>
              <a:gd name="T51" fmla="*/ 170 h 298"/>
              <a:gd name="T52" fmla="*/ 11 w 299"/>
              <a:gd name="T53" fmla="*/ 288 h 298"/>
              <a:gd name="T54" fmla="*/ 22 w 299"/>
              <a:gd name="T55" fmla="*/ 298 h 298"/>
              <a:gd name="T56" fmla="*/ 278 w 299"/>
              <a:gd name="T57" fmla="*/ 298 h 298"/>
              <a:gd name="T58" fmla="*/ 288 w 299"/>
              <a:gd name="T59" fmla="*/ 288 h 298"/>
              <a:gd name="T60" fmla="*/ 288 w 299"/>
              <a:gd name="T61" fmla="*/ 170 h 298"/>
              <a:gd name="T62" fmla="*/ 299 w 299"/>
              <a:gd name="T63" fmla="*/ 160 h 298"/>
              <a:gd name="T64" fmla="*/ 288 w 299"/>
              <a:gd name="T65" fmla="*/ 149 h 298"/>
              <a:gd name="T66" fmla="*/ 182 w 299"/>
              <a:gd name="T67" fmla="*/ 106 h 298"/>
              <a:gd name="T68" fmla="*/ 246 w 299"/>
              <a:gd name="T69" fmla="*/ 106 h 298"/>
              <a:gd name="T70" fmla="*/ 246 w 299"/>
              <a:gd name="T71" fmla="*/ 149 h 298"/>
              <a:gd name="T72" fmla="*/ 182 w 299"/>
              <a:gd name="T73" fmla="*/ 149 h 298"/>
              <a:gd name="T74" fmla="*/ 182 w 299"/>
              <a:gd name="T75" fmla="*/ 106 h 298"/>
              <a:gd name="T76" fmla="*/ 54 w 299"/>
              <a:gd name="T77" fmla="*/ 106 h 298"/>
              <a:gd name="T78" fmla="*/ 118 w 299"/>
              <a:gd name="T79" fmla="*/ 106 h 298"/>
              <a:gd name="T80" fmla="*/ 118 w 299"/>
              <a:gd name="T81" fmla="*/ 149 h 298"/>
              <a:gd name="T82" fmla="*/ 54 w 299"/>
              <a:gd name="T83" fmla="*/ 149 h 298"/>
              <a:gd name="T84" fmla="*/ 54 w 299"/>
              <a:gd name="T85" fmla="*/ 106 h 298"/>
              <a:gd name="T86" fmla="*/ 267 w 299"/>
              <a:gd name="T87" fmla="*/ 277 h 298"/>
              <a:gd name="T88" fmla="*/ 32 w 299"/>
              <a:gd name="T89" fmla="*/ 277 h 298"/>
              <a:gd name="T90" fmla="*/ 32 w 299"/>
              <a:gd name="T91" fmla="*/ 170 h 298"/>
              <a:gd name="T92" fmla="*/ 267 w 299"/>
              <a:gd name="T93" fmla="*/ 170 h 298"/>
              <a:gd name="T94" fmla="*/ 267 w 299"/>
              <a:gd name="T95" fmla="*/ 277 h 298"/>
              <a:gd name="T96" fmla="*/ 214 w 299"/>
              <a:gd name="T97" fmla="*/ 64 h 298"/>
              <a:gd name="T98" fmla="*/ 246 w 299"/>
              <a:gd name="T99" fmla="*/ 32 h 298"/>
              <a:gd name="T100" fmla="*/ 214 w 299"/>
              <a:gd name="T101" fmla="*/ 0 h 298"/>
              <a:gd name="T102" fmla="*/ 182 w 299"/>
              <a:gd name="T103" fmla="*/ 32 h 298"/>
              <a:gd name="T104" fmla="*/ 214 w 299"/>
              <a:gd name="T105" fmla="*/ 64 h 298"/>
              <a:gd name="T106" fmla="*/ 214 w 299"/>
              <a:gd name="T107" fmla="*/ 21 h 298"/>
              <a:gd name="T108" fmla="*/ 224 w 299"/>
              <a:gd name="T109" fmla="*/ 32 h 298"/>
              <a:gd name="T110" fmla="*/ 214 w 299"/>
              <a:gd name="T111" fmla="*/ 42 h 298"/>
              <a:gd name="T112" fmla="*/ 203 w 299"/>
              <a:gd name="T113" fmla="*/ 32 h 298"/>
              <a:gd name="T114" fmla="*/ 214 w 299"/>
              <a:gd name="T115" fmla="*/ 21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99" h="298">
                <a:moveTo>
                  <a:pt x="86" y="64"/>
                </a:moveTo>
                <a:cubicBezTo>
                  <a:pt x="103" y="64"/>
                  <a:pt x="118" y="49"/>
                  <a:pt x="118" y="32"/>
                </a:cubicBezTo>
                <a:cubicBezTo>
                  <a:pt x="118" y="14"/>
                  <a:pt x="103" y="0"/>
                  <a:pt x="86" y="0"/>
                </a:cubicBezTo>
                <a:cubicBezTo>
                  <a:pt x="68" y="0"/>
                  <a:pt x="54" y="14"/>
                  <a:pt x="54" y="32"/>
                </a:cubicBezTo>
                <a:cubicBezTo>
                  <a:pt x="54" y="49"/>
                  <a:pt x="68" y="64"/>
                  <a:pt x="86" y="64"/>
                </a:cubicBezTo>
                <a:close/>
                <a:moveTo>
                  <a:pt x="86" y="21"/>
                </a:moveTo>
                <a:cubicBezTo>
                  <a:pt x="92" y="21"/>
                  <a:pt x="96" y="26"/>
                  <a:pt x="96" y="32"/>
                </a:cubicBezTo>
                <a:cubicBezTo>
                  <a:pt x="96" y="38"/>
                  <a:pt x="92" y="42"/>
                  <a:pt x="86" y="42"/>
                </a:cubicBezTo>
                <a:cubicBezTo>
                  <a:pt x="80" y="42"/>
                  <a:pt x="75" y="38"/>
                  <a:pt x="75" y="32"/>
                </a:cubicBezTo>
                <a:cubicBezTo>
                  <a:pt x="75" y="26"/>
                  <a:pt x="80" y="21"/>
                  <a:pt x="86" y="21"/>
                </a:cubicBezTo>
                <a:close/>
                <a:moveTo>
                  <a:pt x="288" y="149"/>
                </a:moveTo>
                <a:cubicBezTo>
                  <a:pt x="267" y="149"/>
                  <a:pt x="267" y="149"/>
                  <a:pt x="267" y="149"/>
                </a:cubicBezTo>
                <a:cubicBezTo>
                  <a:pt x="267" y="96"/>
                  <a:pt x="267" y="96"/>
                  <a:pt x="267" y="96"/>
                </a:cubicBezTo>
                <a:cubicBezTo>
                  <a:pt x="267" y="90"/>
                  <a:pt x="262" y="85"/>
                  <a:pt x="256" y="85"/>
                </a:cubicBezTo>
                <a:cubicBezTo>
                  <a:pt x="171" y="85"/>
                  <a:pt x="171" y="85"/>
                  <a:pt x="171" y="85"/>
                </a:cubicBezTo>
                <a:cubicBezTo>
                  <a:pt x="165" y="85"/>
                  <a:pt x="160" y="90"/>
                  <a:pt x="160" y="96"/>
                </a:cubicBezTo>
                <a:cubicBezTo>
                  <a:pt x="160" y="149"/>
                  <a:pt x="160" y="149"/>
                  <a:pt x="160" y="149"/>
                </a:cubicBezTo>
                <a:cubicBezTo>
                  <a:pt x="139" y="149"/>
                  <a:pt x="139" y="149"/>
                  <a:pt x="139" y="149"/>
                </a:cubicBezTo>
                <a:cubicBezTo>
                  <a:pt x="139" y="96"/>
                  <a:pt x="139" y="96"/>
                  <a:pt x="139" y="96"/>
                </a:cubicBezTo>
                <a:cubicBezTo>
                  <a:pt x="139" y="90"/>
                  <a:pt x="134" y="85"/>
                  <a:pt x="128" y="85"/>
                </a:cubicBezTo>
                <a:cubicBezTo>
                  <a:pt x="43" y="85"/>
                  <a:pt x="43" y="85"/>
                  <a:pt x="43" y="85"/>
                </a:cubicBezTo>
                <a:cubicBezTo>
                  <a:pt x="37" y="85"/>
                  <a:pt x="32" y="90"/>
                  <a:pt x="32" y="96"/>
                </a:cubicBezTo>
                <a:cubicBezTo>
                  <a:pt x="32" y="149"/>
                  <a:pt x="32" y="149"/>
                  <a:pt x="32" y="149"/>
                </a:cubicBezTo>
                <a:cubicBezTo>
                  <a:pt x="11" y="149"/>
                  <a:pt x="11" y="149"/>
                  <a:pt x="11" y="149"/>
                </a:cubicBezTo>
                <a:cubicBezTo>
                  <a:pt x="5" y="149"/>
                  <a:pt x="0" y="154"/>
                  <a:pt x="0" y="160"/>
                </a:cubicBezTo>
                <a:cubicBezTo>
                  <a:pt x="0" y="166"/>
                  <a:pt x="6" y="170"/>
                  <a:pt x="11" y="170"/>
                </a:cubicBezTo>
                <a:cubicBezTo>
                  <a:pt x="11" y="288"/>
                  <a:pt x="11" y="288"/>
                  <a:pt x="11" y="288"/>
                </a:cubicBezTo>
                <a:cubicBezTo>
                  <a:pt x="11" y="294"/>
                  <a:pt x="16" y="298"/>
                  <a:pt x="22" y="298"/>
                </a:cubicBezTo>
                <a:cubicBezTo>
                  <a:pt x="278" y="298"/>
                  <a:pt x="278" y="298"/>
                  <a:pt x="278" y="298"/>
                </a:cubicBezTo>
                <a:cubicBezTo>
                  <a:pt x="284" y="298"/>
                  <a:pt x="288" y="294"/>
                  <a:pt x="288" y="288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94" y="170"/>
                  <a:pt x="299" y="166"/>
                  <a:pt x="299" y="160"/>
                </a:cubicBezTo>
                <a:cubicBezTo>
                  <a:pt x="299" y="154"/>
                  <a:pt x="294" y="149"/>
                  <a:pt x="288" y="149"/>
                </a:cubicBezTo>
                <a:close/>
                <a:moveTo>
                  <a:pt x="182" y="106"/>
                </a:moveTo>
                <a:cubicBezTo>
                  <a:pt x="246" y="106"/>
                  <a:pt x="246" y="106"/>
                  <a:pt x="246" y="106"/>
                </a:cubicBezTo>
                <a:cubicBezTo>
                  <a:pt x="246" y="149"/>
                  <a:pt x="246" y="149"/>
                  <a:pt x="246" y="149"/>
                </a:cubicBezTo>
                <a:cubicBezTo>
                  <a:pt x="182" y="149"/>
                  <a:pt x="182" y="149"/>
                  <a:pt x="182" y="149"/>
                </a:cubicBezTo>
                <a:lnTo>
                  <a:pt x="182" y="106"/>
                </a:lnTo>
                <a:close/>
                <a:moveTo>
                  <a:pt x="54" y="106"/>
                </a:moveTo>
                <a:cubicBezTo>
                  <a:pt x="118" y="106"/>
                  <a:pt x="118" y="106"/>
                  <a:pt x="118" y="106"/>
                </a:cubicBezTo>
                <a:cubicBezTo>
                  <a:pt x="118" y="149"/>
                  <a:pt x="118" y="149"/>
                  <a:pt x="118" y="149"/>
                </a:cubicBezTo>
                <a:cubicBezTo>
                  <a:pt x="54" y="149"/>
                  <a:pt x="54" y="149"/>
                  <a:pt x="54" y="149"/>
                </a:cubicBezTo>
                <a:lnTo>
                  <a:pt x="54" y="106"/>
                </a:lnTo>
                <a:close/>
                <a:moveTo>
                  <a:pt x="267" y="277"/>
                </a:moveTo>
                <a:cubicBezTo>
                  <a:pt x="32" y="277"/>
                  <a:pt x="32" y="277"/>
                  <a:pt x="32" y="277"/>
                </a:cubicBezTo>
                <a:cubicBezTo>
                  <a:pt x="32" y="170"/>
                  <a:pt x="32" y="170"/>
                  <a:pt x="32" y="170"/>
                </a:cubicBezTo>
                <a:cubicBezTo>
                  <a:pt x="267" y="170"/>
                  <a:pt x="267" y="170"/>
                  <a:pt x="267" y="170"/>
                </a:cubicBezTo>
                <a:lnTo>
                  <a:pt x="267" y="277"/>
                </a:lnTo>
                <a:close/>
                <a:moveTo>
                  <a:pt x="214" y="64"/>
                </a:moveTo>
                <a:cubicBezTo>
                  <a:pt x="231" y="64"/>
                  <a:pt x="246" y="49"/>
                  <a:pt x="246" y="32"/>
                </a:cubicBezTo>
                <a:cubicBezTo>
                  <a:pt x="246" y="14"/>
                  <a:pt x="231" y="0"/>
                  <a:pt x="214" y="0"/>
                </a:cubicBezTo>
                <a:cubicBezTo>
                  <a:pt x="196" y="0"/>
                  <a:pt x="182" y="14"/>
                  <a:pt x="182" y="32"/>
                </a:cubicBezTo>
                <a:cubicBezTo>
                  <a:pt x="182" y="49"/>
                  <a:pt x="196" y="64"/>
                  <a:pt x="214" y="64"/>
                </a:cubicBezTo>
                <a:close/>
                <a:moveTo>
                  <a:pt x="214" y="21"/>
                </a:moveTo>
                <a:cubicBezTo>
                  <a:pt x="220" y="21"/>
                  <a:pt x="224" y="26"/>
                  <a:pt x="224" y="32"/>
                </a:cubicBezTo>
                <a:cubicBezTo>
                  <a:pt x="224" y="38"/>
                  <a:pt x="220" y="42"/>
                  <a:pt x="214" y="42"/>
                </a:cubicBezTo>
                <a:cubicBezTo>
                  <a:pt x="208" y="42"/>
                  <a:pt x="203" y="38"/>
                  <a:pt x="203" y="32"/>
                </a:cubicBezTo>
                <a:cubicBezTo>
                  <a:pt x="203" y="26"/>
                  <a:pt x="208" y="21"/>
                  <a:pt x="214" y="21"/>
                </a:cubicBezTo>
                <a:close/>
              </a:path>
            </a:pathLst>
          </a:custGeom>
          <a:solidFill>
            <a:srgbClr val="01216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8" name="Freeform 246">
            <a:extLst>
              <a:ext uri="{FF2B5EF4-FFF2-40B4-BE49-F238E27FC236}">
                <a16:creationId xmlns:a16="http://schemas.microsoft.com/office/drawing/2014/main" id="{9EBA1DB4-A50D-10A3-B6D4-F9E7B9BAC0C8}"/>
              </a:ext>
            </a:extLst>
          </p:cNvPr>
          <p:cNvSpPr>
            <a:spLocks noEditPoints="1"/>
          </p:cNvSpPr>
          <p:nvPr/>
        </p:nvSpPr>
        <p:spPr bwMode="auto">
          <a:xfrm>
            <a:off x="1986444" y="2215725"/>
            <a:ext cx="168678" cy="229229"/>
          </a:xfrm>
          <a:custGeom>
            <a:avLst/>
            <a:gdLst>
              <a:gd name="T0" fmla="*/ 54 w 235"/>
              <a:gd name="T1" fmla="*/ 53 h 320"/>
              <a:gd name="T2" fmla="*/ 192 w 235"/>
              <a:gd name="T3" fmla="*/ 64 h 320"/>
              <a:gd name="T4" fmla="*/ 54 w 235"/>
              <a:gd name="T5" fmla="*/ 74 h 320"/>
              <a:gd name="T6" fmla="*/ 235 w 235"/>
              <a:gd name="T7" fmla="*/ 10 h 320"/>
              <a:gd name="T8" fmla="*/ 224 w 235"/>
              <a:gd name="T9" fmla="*/ 320 h 320"/>
              <a:gd name="T10" fmla="*/ 0 w 235"/>
              <a:gd name="T11" fmla="*/ 309 h 320"/>
              <a:gd name="T12" fmla="*/ 11 w 235"/>
              <a:gd name="T13" fmla="*/ 0 h 320"/>
              <a:gd name="T14" fmla="*/ 235 w 235"/>
              <a:gd name="T15" fmla="*/ 10 h 320"/>
              <a:gd name="T16" fmla="*/ 22 w 235"/>
              <a:gd name="T17" fmla="*/ 21 h 320"/>
              <a:gd name="T18" fmla="*/ 214 w 235"/>
              <a:gd name="T19" fmla="*/ 298 h 320"/>
              <a:gd name="T20" fmla="*/ 54 w 235"/>
              <a:gd name="T21" fmla="*/ 160 h 320"/>
              <a:gd name="T22" fmla="*/ 192 w 235"/>
              <a:gd name="T23" fmla="*/ 149 h 320"/>
              <a:gd name="T24" fmla="*/ 54 w 235"/>
              <a:gd name="T25" fmla="*/ 138 h 320"/>
              <a:gd name="T26" fmla="*/ 54 w 235"/>
              <a:gd name="T27" fmla="*/ 160 h 320"/>
              <a:gd name="T28" fmla="*/ 182 w 235"/>
              <a:gd name="T29" fmla="*/ 117 h 320"/>
              <a:gd name="T30" fmla="*/ 182 w 235"/>
              <a:gd name="T31" fmla="*/ 96 h 320"/>
              <a:gd name="T32" fmla="*/ 43 w 235"/>
              <a:gd name="T33" fmla="*/ 106 h 320"/>
              <a:gd name="T34" fmla="*/ 159 w 235"/>
              <a:gd name="T35" fmla="*/ 233 h 320"/>
              <a:gd name="T36" fmla="*/ 159 w 235"/>
              <a:gd name="T37" fmla="*/ 235 h 320"/>
              <a:gd name="T38" fmla="*/ 151 w 235"/>
              <a:gd name="T39" fmla="*/ 258 h 320"/>
              <a:gd name="T40" fmla="*/ 151 w 235"/>
              <a:gd name="T41" fmla="*/ 259 h 320"/>
              <a:gd name="T42" fmla="*/ 131 w 235"/>
              <a:gd name="T43" fmla="*/ 273 h 320"/>
              <a:gd name="T44" fmla="*/ 130 w 235"/>
              <a:gd name="T45" fmla="*/ 274 h 320"/>
              <a:gd name="T46" fmla="*/ 105 w 235"/>
              <a:gd name="T47" fmla="*/ 274 h 320"/>
              <a:gd name="T48" fmla="*/ 104 w 235"/>
              <a:gd name="T49" fmla="*/ 273 h 320"/>
              <a:gd name="T50" fmla="*/ 85 w 235"/>
              <a:gd name="T51" fmla="*/ 259 h 320"/>
              <a:gd name="T52" fmla="*/ 84 w 235"/>
              <a:gd name="T53" fmla="*/ 258 h 320"/>
              <a:gd name="T54" fmla="*/ 76 w 235"/>
              <a:gd name="T55" fmla="*/ 235 h 320"/>
              <a:gd name="T56" fmla="*/ 76 w 235"/>
              <a:gd name="T57" fmla="*/ 233 h 320"/>
              <a:gd name="T58" fmla="*/ 84 w 235"/>
              <a:gd name="T59" fmla="*/ 211 h 320"/>
              <a:gd name="T60" fmla="*/ 85 w 235"/>
              <a:gd name="T61" fmla="*/ 210 h 320"/>
              <a:gd name="T62" fmla="*/ 104 w 235"/>
              <a:gd name="T63" fmla="*/ 195 h 320"/>
              <a:gd name="T64" fmla="*/ 105 w 235"/>
              <a:gd name="T65" fmla="*/ 195 h 320"/>
              <a:gd name="T66" fmla="*/ 130 w 235"/>
              <a:gd name="T67" fmla="*/ 195 h 320"/>
              <a:gd name="T68" fmla="*/ 131 w 235"/>
              <a:gd name="T69" fmla="*/ 195 h 320"/>
              <a:gd name="T70" fmla="*/ 151 w 235"/>
              <a:gd name="T71" fmla="*/ 210 h 320"/>
              <a:gd name="T72" fmla="*/ 151 w 235"/>
              <a:gd name="T73" fmla="*/ 211 h 320"/>
              <a:gd name="T74" fmla="*/ 159 w 235"/>
              <a:gd name="T75" fmla="*/ 233 h 320"/>
              <a:gd name="T76" fmla="*/ 139 w 235"/>
              <a:gd name="T77" fmla="*/ 228 h 320"/>
              <a:gd name="T78" fmla="*/ 130 w 235"/>
              <a:gd name="T79" fmla="*/ 217 h 320"/>
              <a:gd name="T80" fmla="*/ 124 w 235"/>
              <a:gd name="T81" fmla="*/ 216 h 320"/>
              <a:gd name="T82" fmla="*/ 120 w 235"/>
              <a:gd name="T83" fmla="*/ 214 h 320"/>
              <a:gd name="T84" fmla="*/ 118 w 235"/>
              <a:gd name="T85" fmla="*/ 213 h 320"/>
              <a:gd name="T86" fmla="*/ 105 w 235"/>
              <a:gd name="T87" fmla="*/ 217 h 320"/>
              <a:gd name="T88" fmla="*/ 97 w 235"/>
              <a:gd name="T89" fmla="*/ 228 h 320"/>
              <a:gd name="T90" fmla="*/ 96 w 235"/>
              <a:gd name="T91" fmla="*/ 242 h 320"/>
              <a:gd name="T92" fmla="*/ 105 w 235"/>
              <a:gd name="T93" fmla="*/ 252 h 320"/>
              <a:gd name="T94" fmla="*/ 112 w 235"/>
              <a:gd name="T95" fmla="*/ 253 h 320"/>
              <a:gd name="T96" fmla="*/ 115 w 235"/>
              <a:gd name="T97" fmla="*/ 254 h 320"/>
              <a:gd name="T98" fmla="*/ 118 w 235"/>
              <a:gd name="T99" fmla="*/ 256 h 320"/>
              <a:gd name="T100" fmla="*/ 131 w 235"/>
              <a:gd name="T101" fmla="*/ 252 h 320"/>
              <a:gd name="T102" fmla="*/ 133 w 235"/>
              <a:gd name="T103" fmla="*/ 246 h 320"/>
              <a:gd name="T104" fmla="*/ 137 w 235"/>
              <a:gd name="T105" fmla="*/ 23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5" h="320">
                <a:moveTo>
                  <a:pt x="43" y="64"/>
                </a:moveTo>
                <a:cubicBezTo>
                  <a:pt x="43" y="58"/>
                  <a:pt x="48" y="53"/>
                  <a:pt x="54" y="53"/>
                </a:cubicBezTo>
                <a:cubicBezTo>
                  <a:pt x="182" y="53"/>
                  <a:pt x="182" y="53"/>
                  <a:pt x="182" y="53"/>
                </a:cubicBezTo>
                <a:cubicBezTo>
                  <a:pt x="188" y="53"/>
                  <a:pt x="192" y="58"/>
                  <a:pt x="192" y="64"/>
                </a:cubicBezTo>
                <a:cubicBezTo>
                  <a:pt x="192" y="70"/>
                  <a:pt x="188" y="74"/>
                  <a:pt x="182" y="74"/>
                </a:cubicBezTo>
                <a:cubicBezTo>
                  <a:pt x="54" y="74"/>
                  <a:pt x="54" y="74"/>
                  <a:pt x="54" y="74"/>
                </a:cubicBezTo>
                <a:cubicBezTo>
                  <a:pt x="48" y="74"/>
                  <a:pt x="43" y="70"/>
                  <a:pt x="43" y="64"/>
                </a:cubicBezTo>
                <a:close/>
                <a:moveTo>
                  <a:pt x="235" y="10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224" y="0"/>
                  <a:pt x="224" y="0"/>
                  <a:pt x="224" y="0"/>
                </a:cubicBezTo>
                <a:cubicBezTo>
                  <a:pt x="230" y="0"/>
                  <a:pt x="235" y="4"/>
                  <a:pt x="235" y="10"/>
                </a:cubicBezTo>
                <a:close/>
                <a:moveTo>
                  <a:pt x="214" y="21"/>
                </a:moveTo>
                <a:cubicBezTo>
                  <a:pt x="22" y="21"/>
                  <a:pt x="22" y="21"/>
                  <a:pt x="22" y="21"/>
                </a:cubicBezTo>
                <a:cubicBezTo>
                  <a:pt x="22" y="298"/>
                  <a:pt x="22" y="298"/>
                  <a:pt x="2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21"/>
                </a:lnTo>
                <a:close/>
                <a:moveTo>
                  <a:pt x="54" y="160"/>
                </a:moveTo>
                <a:cubicBezTo>
                  <a:pt x="182" y="160"/>
                  <a:pt x="182" y="160"/>
                  <a:pt x="182" y="160"/>
                </a:cubicBezTo>
                <a:cubicBezTo>
                  <a:pt x="188" y="160"/>
                  <a:pt x="192" y="155"/>
                  <a:pt x="192" y="149"/>
                </a:cubicBezTo>
                <a:cubicBezTo>
                  <a:pt x="192" y="143"/>
                  <a:pt x="188" y="138"/>
                  <a:pt x="182" y="138"/>
                </a:cubicBezTo>
                <a:cubicBezTo>
                  <a:pt x="54" y="138"/>
                  <a:pt x="54" y="138"/>
                  <a:pt x="54" y="138"/>
                </a:cubicBezTo>
                <a:cubicBezTo>
                  <a:pt x="48" y="138"/>
                  <a:pt x="43" y="143"/>
                  <a:pt x="43" y="149"/>
                </a:cubicBezTo>
                <a:cubicBezTo>
                  <a:pt x="43" y="155"/>
                  <a:pt x="48" y="160"/>
                  <a:pt x="54" y="160"/>
                </a:cubicBezTo>
                <a:close/>
                <a:moveTo>
                  <a:pt x="54" y="117"/>
                </a:moveTo>
                <a:cubicBezTo>
                  <a:pt x="182" y="117"/>
                  <a:pt x="182" y="117"/>
                  <a:pt x="182" y="117"/>
                </a:cubicBezTo>
                <a:cubicBezTo>
                  <a:pt x="188" y="117"/>
                  <a:pt x="192" y="112"/>
                  <a:pt x="192" y="106"/>
                </a:cubicBezTo>
                <a:cubicBezTo>
                  <a:pt x="192" y="100"/>
                  <a:pt x="188" y="96"/>
                  <a:pt x="182" y="96"/>
                </a:cubicBezTo>
                <a:cubicBezTo>
                  <a:pt x="54" y="96"/>
                  <a:pt x="54" y="96"/>
                  <a:pt x="54" y="96"/>
                </a:cubicBezTo>
                <a:cubicBezTo>
                  <a:pt x="48" y="96"/>
                  <a:pt x="43" y="100"/>
                  <a:pt x="43" y="106"/>
                </a:cubicBezTo>
                <a:cubicBezTo>
                  <a:pt x="43" y="112"/>
                  <a:pt x="48" y="117"/>
                  <a:pt x="54" y="117"/>
                </a:cubicBezTo>
                <a:close/>
                <a:moveTo>
                  <a:pt x="159" y="233"/>
                </a:moveTo>
                <a:cubicBezTo>
                  <a:pt x="159" y="234"/>
                  <a:pt x="159" y="234"/>
                  <a:pt x="159" y="234"/>
                </a:cubicBezTo>
                <a:cubicBezTo>
                  <a:pt x="159" y="235"/>
                  <a:pt x="159" y="235"/>
                  <a:pt x="159" y="235"/>
                </a:cubicBezTo>
                <a:cubicBezTo>
                  <a:pt x="160" y="238"/>
                  <a:pt x="162" y="243"/>
                  <a:pt x="160" y="248"/>
                </a:cubicBezTo>
                <a:cubicBezTo>
                  <a:pt x="158" y="254"/>
                  <a:pt x="154" y="256"/>
                  <a:pt x="151" y="258"/>
                </a:cubicBezTo>
                <a:cubicBezTo>
                  <a:pt x="151" y="258"/>
                  <a:pt x="151" y="258"/>
                  <a:pt x="151" y="258"/>
                </a:cubicBezTo>
                <a:cubicBezTo>
                  <a:pt x="151" y="259"/>
                  <a:pt x="151" y="259"/>
                  <a:pt x="151" y="259"/>
                </a:cubicBezTo>
                <a:cubicBezTo>
                  <a:pt x="150" y="262"/>
                  <a:pt x="148" y="267"/>
                  <a:pt x="144" y="270"/>
                </a:cubicBezTo>
                <a:cubicBezTo>
                  <a:pt x="139" y="274"/>
                  <a:pt x="134" y="274"/>
                  <a:pt x="131" y="273"/>
                </a:cubicBezTo>
                <a:cubicBezTo>
                  <a:pt x="131" y="273"/>
                  <a:pt x="131" y="273"/>
                  <a:pt x="130" y="273"/>
                </a:cubicBezTo>
                <a:cubicBezTo>
                  <a:pt x="130" y="273"/>
                  <a:pt x="130" y="274"/>
                  <a:pt x="130" y="274"/>
                </a:cubicBezTo>
                <a:cubicBezTo>
                  <a:pt x="127" y="276"/>
                  <a:pt x="123" y="279"/>
                  <a:pt x="118" y="279"/>
                </a:cubicBezTo>
                <a:cubicBezTo>
                  <a:pt x="112" y="279"/>
                  <a:pt x="108" y="276"/>
                  <a:pt x="105" y="274"/>
                </a:cubicBezTo>
                <a:cubicBezTo>
                  <a:pt x="105" y="274"/>
                  <a:pt x="105" y="273"/>
                  <a:pt x="105" y="273"/>
                </a:cubicBezTo>
                <a:cubicBezTo>
                  <a:pt x="105" y="273"/>
                  <a:pt x="104" y="273"/>
                  <a:pt x="104" y="273"/>
                </a:cubicBezTo>
                <a:cubicBezTo>
                  <a:pt x="101" y="274"/>
                  <a:pt x="96" y="274"/>
                  <a:pt x="91" y="270"/>
                </a:cubicBezTo>
                <a:cubicBezTo>
                  <a:pt x="87" y="267"/>
                  <a:pt x="86" y="262"/>
                  <a:pt x="85" y="259"/>
                </a:cubicBezTo>
                <a:cubicBezTo>
                  <a:pt x="85" y="259"/>
                  <a:pt x="85" y="259"/>
                  <a:pt x="85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1" y="256"/>
                  <a:pt x="77" y="254"/>
                  <a:pt x="75" y="248"/>
                </a:cubicBezTo>
                <a:cubicBezTo>
                  <a:pt x="74" y="243"/>
                  <a:pt x="75" y="238"/>
                  <a:pt x="76" y="235"/>
                </a:cubicBezTo>
                <a:cubicBezTo>
                  <a:pt x="77" y="235"/>
                  <a:pt x="77" y="235"/>
                  <a:pt x="77" y="234"/>
                </a:cubicBezTo>
                <a:cubicBezTo>
                  <a:pt x="77" y="234"/>
                  <a:pt x="77" y="234"/>
                  <a:pt x="76" y="233"/>
                </a:cubicBezTo>
                <a:cubicBezTo>
                  <a:pt x="75" y="231"/>
                  <a:pt x="74" y="226"/>
                  <a:pt x="75" y="221"/>
                </a:cubicBezTo>
                <a:cubicBezTo>
                  <a:pt x="77" y="215"/>
                  <a:pt x="81" y="212"/>
                  <a:pt x="84" y="211"/>
                </a:cubicBezTo>
                <a:cubicBezTo>
                  <a:pt x="84" y="211"/>
                  <a:pt x="84" y="210"/>
                  <a:pt x="85" y="210"/>
                </a:cubicBezTo>
                <a:cubicBezTo>
                  <a:pt x="85" y="210"/>
                  <a:pt x="85" y="210"/>
                  <a:pt x="85" y="210"/>
                </a:cubicBezTo>
                <a:cubicBezTo>
                  <a:pt x="86" y="207"/>
                  <a:pt x="87" y="202"/>
                  <a:pt x="91" y="198"/>
                </a:cubicBezTo>
                <a:cubicBezTo>
                  <a:pt x="96" y="195"/>
                  <a:pt x="101" y="195"/>
                  <a:pt x="104" y="195"/>
                </a:cubicBezTo>
                <a:cubicBezTo>
                  <a:pt x="104" y="195"/>
                  <a:pt x="105" y="195"/>
                  <a:pt x="105" y="195"/>
                </a:cubicBezTo>
                <a:cubicBezTo>
                  <a:pt x="105" y="195"/>
                  <a:pt x="105" y="195"/>
                  <a:pt x="105" y="195"/>
                </a:cubicBezTo>
                <a:cubicBezTo>
                  <a:pt x="108" y="193"/>
                  <a:pt x="112" y="190"/>
                  <a:pt x="118" y="190"/>
                </a:cubicBezTo>
                <a:cubicBezTo>
                  <a:pt x="123" y="190"/>
                  <a:pt x="127" y="193"/>
                  <a:pt x="130" y="195"/>
                </a:cubicBezTo>
                <a:cubicBezTo>
                  <a:pt x="130" y="195"/>
                  <a:pt x="130" y="195"/>
                  <a:pt x="130" y="195"/>
                </a:cubicBezTo>
                <a:cubicBezTo>
                  <a:pt x="131" y="195"/>
                  <a:pt x="131" y="195"/>
                  <a:pt x="131" y="195"/>
                </a:cubicBezTo>
                <a:cubicBezTo>
                  <a:pt x="134" y="195"/>
                  <a:pt x="139" y="195"/>
                  <a:pt x="144" y="198"/>
                </a:cubicBezTo>
                <a:cubicBezTo>
                  <a:pt x="148" y="202"/>
                  <a:pt x="150" y="207"/>
                  <a:pt x="151" y="210"/>
                </a:cubicBezTo>
                <a:cubicBezTo>
                  <a:pt x="151" y="210"/>
                  <a:pt x="151" y="210"/>
                  <a:pt x="151" y="210"/>
                </a:cubicBezTo>
                <a:cubicBezTo>
                  <a:pt x="151" y="210"/>
                  <a:pt x="151" y="211"/>
                  <a:pt x="151" y="211"/>
                </a:cubicBezTo>
                <a:cubicBezTo>
                  <a:pt x="154" y="212"/>
                  <a:pt x="158" y="215"/>
                  <a:pt x="160" y="221"/>
                </a:cubicBezTo>
                <a:cubicBezTo>
                  <a:pt x="162" y="226"/>
                  <a:pt x="160" y="231"/>
                  <a:pt x="159" y="233"/>
                </a:cubicBezTo>
                <a:close/>
                <a:moveTo>
                  <a:pt x="137" y="234"/>
                </a:moveTo>
                <a:cubicBezTo>
                  <a:pt x="137" y="231"/>
                  <a:pt x="139" y="229"/>
                  <a:pt x="139" y="228"/>
                </a:cubicBezTo>
                <a:cubicBezTo>
                  <a:pt x="138" y="226"/>
                  <a:pt x="135" y="225"/>
                  <a:pt x="133" y="223"/>
                </a:cubicBezTo>
                <a:cubicBezTo>
                  <a:pt x="132" y="221"/>
                  <a:pt x="131" y="219"/>
                  <a:pt x="130" y="217"/>
                </a:cubicBezTo>
                <a:cubicBezTo>
                  <a:pt x="129" y="217"/>
                  <a:pt x="127" y="217"/>
                  <a:pt x="125" y="216"/>
                </a:cubicBezTo>
                <a:cubicBezTo>
                  <a:pt x="125" y="216"/>
                  <a:pt x="124" y="216"/>
                  <a:pt x="124" y="216"/>
                </a:cubicBezTo>
                <a:cubicBezTo>
                  <a:pt x="123" y="216"/>
                  <a:pt x="123" y="216"/>
                  <a:pt x="123" y="216"/>
                </a:cubicBezTo>
                <a:cubicBezTo>
                  <a:pt x="122" y="215"/>
                  <a:pt x="121" y="215"/>
                  <a:pt x="120" y="214"/>
                </a:cubicBezTo>
                <a:cubicBezTo>
                  <a:pt x="120" y="214"/>
                  <a:pt x="120" y="214"/>
                  <a:pt x="119" y="214"/>
                </a:cubicBezTo>
                <a:cubicBezTo>
                  <a:pt x="119" y="213"/>
                  <a:pt x="118" y="213"/>
                  <a:pt x="118" y="213"/>
                </a:cubicBezTo>
                <a:cubicBezTo>
                  <a:pt x="116" y="214"/>
                  <a:pt x="114" y="215"/>
                  <a:pt x="112" y="216"/>
                </a:cubicBezTo>
                <a:cubicBezTo>
                  <a:pt x="109" y="217"/>
                  <a:pt x="107" y="217"/>
                  <a:pt x="105" y="217"/>
                </a:cubicBezTo>
                <a:cubicBezTo>
                  <a:pt x="104" y="219"/>
                  <a:pt x="103" y="221"/>
                  <a:pt x="101" y="223"/>
                </a:cubicBezTo>
                <a:cubicBezTo>
                  <a:pt x="100" y="225"/>
                  <a:pt x="98" y="227"/>
                  <a:pt x="97" y="228"/>
                </a:cubicBezTo>
                <a:cubicBezTo>
                  <a:pt x="97" y="230"/>
                  <a:pt x="98" y="232"/>
                  <a:pt x="98" y="235"/>
                </a:cubicBezTo>
                <a:cubicBezTo>
                  <a:pt x="98" y="237"/>
                  <a:pt x="97" y="240"/>
                  <a:pt x="96" y="242"/>
                </a:cubicBezTo>
                <a:cubicBezTo>
                  <a:pt x="98" y="243"/>
                  <a:pt x="100" y="244"/>
                  <a:pt x="102" y="246"/>
                </a:cubicBezTo>
                <a:cubicBezTo>
                  <a:pt x="103" y="248"/>
                  <a:pt x="104" y="250"/>
                  <a:pt x="105" y="252"/>
                </a:cubicBezTo>
                <a:cubicBezTo>
                  <a:pt x="106" y="252"/>
                  <a:pt x="108" y="252"/>
                  <a:pt x="110" y="252"/>
                </a:cubicBezTo>
                <a:cubicBezTo>
                  <a:pt x="111" y="253"/>
                  <a:pt x="111" y="253"/>
                  <a:pt x="112" y="253"/>
                </a:cubicBezTo>
                <a:cubicBezTo>
                  <a:pt x="112" y="253"/>
                  <a:pt x="112" y="253"/>
                  <a:pt x="112" y="253"/>
                </a:cubicBezTo>
                <a:cubicBezTo>
                  <a:pt x="113" y="253"/>
                  <a:pt x="114" y="254"/>
                  <a:pt x="115" y="254"/>
                </a:cubicBezTo>
                <a:cubicBezTo>
                  <a:pt x="115" y="255"/>
                  <a:pt x="116" y="255"/>
                  <a:pt x="116" y="255"/>
                </a:cubicBezTo>
                <a:cubicBezTo>
                  <a:pt x="117" y="255"/>
                  <a:pt x="117" y="256"/>
                  <a:pt x="118" y="256"/>
                </a:cubicBezTo>
                <a:cubicBezTo>
                  <a:pt x="119" y="255"/>
                  <a:pt x="121" y="254"/>
                  <a:pt x="124" y="253"/>
                </a:cubicBezTo>
                <a:cubicBezTo>
                  <a:pt x="126" y="252"/>
                  <a:pt x="129" y="252"/>
                  <a:pt x="131" y="252"/>
                </a:cubicBezTo>
                <a:cubicBezTo>
                  <a:pt x="131" y="252"/>
                  <a:pt x="131" y="252"/>
                  <a:pt x="131" y="252"/>
                </a:cubicBezTo>
                <a:cubicBezTo>
                  <a:pt x="131" y="250"/>
                  <a:pt x="132" y="248"/>
                  <a:pt x="133" y="246"/>
                </a:cubicBezTo>
                <a:cubicBezTo>
                  <a:pt x="135" y="244"/>
                  <a:pt x="137" y="242"/>
                  <a:pt x="139" y="241"/>
                </a:cubicBezTo>
                <a:cubicBezTo>
                  <a:pt x="138" y="239"/>
                  <a:pt x="137" y="237"/>
                  <a:pt x="137" y="234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07E42088-A4C4-4AA1-6598-2B27AE704CF1}"/>
              </a:ext>
            </a:extLst>
          </p:cNvPr>
          <p:cNvSpPr/>
          <p:nvPr/>
        </p:nvSpPr>
        <p:spPr>
          <a:xfrm>
            <a:off x="3763644" y="1446286"/>
            <a:ext cx="216000" cy="216000"/>
          </a:xfrm>
          <a:prstGeom prst="ellips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90" name="Rectangle 289">
            <a:extLst>
              <a:ext uri="{FF2B5EF4-FFF2-40B4-BE49-F238E27FC236}">
                <a16:creationId xmlns:a16="http://schemas.microsoft.com/office/drawing/2014/main" id="{5AAA3F45-11D5-615F-FCA2-6EF79B413711}"/>
              </a:ext>
            </a:extLst>
          </p:cNvPr>
          <p:cNvSpPr/>
          <p:nvPr/>
        </p:nvSpPr>
        <p:spPr>
          <a:xfrm>
            <a:off x="4965946" y="2116098"/>
            <a:ext cx="2110391" cy="658519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12169"/>
                </a:solidFill>
                <a:cs typeface="Calibri" panose="020F0502020204030204" pitchFamily="34" charset="0"/>
              </a:rPr>
              <a:t>Poskytovatel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12169"/>
                </a:solidFill>
                <a:cs typeface="Calibri" panose="020F0502020204030204" pitchFamily="34" charset="0"/>
              </a:rPr>
              <a:t>Centrálních prvků C-ITS</a:t>
            </a:r>
          </a:p>
        </p:txBody>
      </p: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26EADE4F-3EA6-2C67-021E-991667B9961E}"/>
              </a:ext>
            </a:extLst>
          </p:cNvPr>
          <p:cNvGrpSpPr>
            <a:grpSpLocks noChangeAspect="1"/>
          </p:cNvGrpSpPr>
          <p:nvPr/>
        </p:nvGrpSpPr>
        <p:grpSpPr>
          <a:xfrm>
            <a:off x="5073533" y="1758687"/>
            <a:ext cx="404283" cy="360000"/>
            <a:chOff x="5061952" y="1170650"/>
            <a:chExt cx="612494" cy="545403"/>
          </a:xfrm>
          <a:solidFill>
            <a:srgbClr val="012169"/>
          </a:solidFill>
        </p:grpSpPr>
        <p:sp>
          <p:nvSpPr>
            <p:cNvPr id="292" name="Freeform 464">
              <a:extLst>
                <a:ext uri="{FF2B5EF4-FFF2-40B4-BE49-F238E27FC236}">
                  <a16:creationId xmlns:a16="http://schemas.microsoft.com/office/drawing/2014/main" id="{9D3C72C6-455F-38A3-1AB1-4F430F225FB8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 flipV="1">
              <a:off x="5477509" y="1471672"/>
              <a:ext cx="252000" cy="141874"/>
            </a:xfrm>
            <a:custGeom>
              <a:avLst/>
              <a:gdLst>
                <a:gd name="T0" fmla="*/ 309 w 320"/>
                <a:gd name="T1" fmla="*/ 53 h 128"/>
                <a:gd name="T2" fmla="*/ 127 w 320"/>
                <a:gd name="T3" fmla="*/ 53 h 128"/>
                <a:gd name="T4" fmla="*/ 64 w 320"/>
                <a:gd name="T5" fmla="*/ 0 h 128"/>
                <a:gd name="T6" fmla="*/ 0 w 320"/>
                <a:gd name="T7" fmla="*/ 64 h 128"/>
                <a:gd name="T8" fmla="*/ 64 w 320"/>
                <a:gd name="T9" fmla="*/ 128 h 128"/>
                <a:gd name="T10" fmla="*/ 127 w 320"/>
                <a:gd name="T11" fmla="*/ 74 h 128"/>
                <a:gd name="T12" fmla="*/ 256 w 320"/>
                <a:gd name="T13" fmla="*/ 74 h 128"/>
                <a:gd name="T14" fmla="*/ 256 w 320"/>
                <a:gd name="T15" fmla="*/ 96 h 128"/>
                <a:gd name="T16" fmla="*/ 266 w 320"/>
                <a:gd name="T17" fmla="*/ 106 h 128"/>
                <a:gd name="T18" fmla="*/ 277 w 320"/>
                <a:gd name="T19" fmla="*/ 96 h 128"/>
                <a:gd name="T20" fmla="*/ 277 w 320"/>
                <a:gd name="T21" fmla="*/ 74 h 128"/>
                <a:gd name="T22" fmla="*/ 298 w 320"/>
                <a:gd name="T23" fmla="*/ 74 h 128"/>
                <a:gd name="T24" fmla="*/ 298 w 320"/>
                <a:gd name="T25" fmla="*/ 117 h 128"/>
                <a:gd name="T26" fmla="*/ 309 w 320"/>
                <a:gd name="T27" fmla="*/ 128 h 128"/>
                <a:gd name="T28" fmla="*/ 320 w 320"/>
                <a:gd name="T29" fmla="*/ 117 h 128"/>
                <a:gd name="T30" fmla="*/ 320 w 320"/>
                <a:gd name="T31" fmla="*/ 64 h 128"/>
                <a:gd name="T32" fmla="*/ 309 w 320"/>
                <a:gd name="T33" fmla="*/ 53 h 128"/>
                <a:gd name="T34" fmla="*/ 64 w 320"/>
                <a:gd name="T35" fmla="*/ 106 h 128"/>
                <a:gd name="T36" fmla="*/ 21 w 320"/>
                <a:gd name="T37" fmla="*/ 64 h 128"/>
                <a:gd name="T38" fmla="*/ 64 w 320"/>
                <a:gd name="T39" fmla="*/ 21 h 128"/>
                <a:gd name="T40" fmla="*/ 106 w 320"/>
                <a:gd name="T41" fmla="*/ 64 h 128"/>
                <a:gd name="T42" fmla="*/ 64 w 320"/>
                <a:gd name="T43" fmla="*/ 10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0" h="128">
                  <a:moveTo>
                    <a:pt x="309" y="53"/>
                  </a:moveTo>
                  <a:cubicBezTo>
                    <a:pt x="127" y="53"/>
                    <a:pt x="127" y="53"/>
                    <a:pt x="127" y="53"/>
                  </a:cubicBezTo>
                  <a:cubicBezTo>
                    <a:pt x="122" y="23"/>
                    <a:pt x="95" y="0"/>
                    <a:pt x="64" y="0"/>
                  </a:cubicBezTo>
                  <a:cubicBezTo>
                    <a:pt x="28" y="0"/>
                    <a:pt x="0" y="28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5" y="128"/>
                    <a:pt x="122" y="105"/>
                    <a:pt x="127" y="74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6" y="96"/>
                    <a:pt x="256" y="96"/>
                    <a:pt x="256" y="96"/>
                  </a:cubicBezTo>
                  <a:cubicBezTo>
                    <a:pt x="256" y="102"/>
                    <a:pt x="260" y="106"/>
                    <a:pt x="266" y="106"/>
                  </a:cubicBezTo>
                  <a:cubicBezTo>
                    <a:pt x="272" y="106"/>
                    <a:pt x="277" y="102"/>
                    <a:pt x="277" y="96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98" y="74"/>
                    <a:pt x="298" y="74"/>
                    <a:pt x="298" y="74"/>
                  </a:cubicBezTo>
                  <a:cubicBezTo>
                    <a:pt x="298" y="117"/>
                    <a:pt x="298" y="117"/>
                    <a:pt x="298" y="117"/>
                  </a:cubicBezTo>
                  <a:cubicBezTo>
                    <a:pt x="298" y="123"/>
                    <a:pt x="303" y="128"/>
                    <a:pt x="309" y="128"/>
                  </a:cubicBezTo>
                  <a:cubicBezTo>
                    <a:pt x="315" y="128"/>
                    <a:pt x="320" y="123"/>
                    <a:pt x="320" y="117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20" y="58"/>
                    <a:pt x="315" y="53"/>
                    <a:pt x="309" y="53"/>
                  </a:cubicBezTo>
                  <a:close/>
                  <a:moveTo>
                    <a:pt x="64" y="106"/>
                  </a:moveTo>
                  <a:cubicBezTo>
                    <a:pt x="40" y="106"/>
                    <a:pt x="21" y="87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7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endParaRPr>
            </a:p>
          </p:txBody>
        </p: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EF21E1A0-F353-A8A6-00CF-763DDB240063}"/>
                </a:ext>
              </a:extLst>
            </p:cNvPr>
            <p:cNvGrpSpPr/>
            <p:nvPr/>
          </p:nvGrpSpPr>
          <p:grpSpPr>
            <a:xfrm>
              <a:off x="5061952" y="1209279"/>
              <a:ext cx="464932" cy="506774"/>
              <a:chOff x="3597045" y="642734"/>
              <a:chExt cx="1996732" cy="2230815"/>
            </a:xfrm>
            <a:grpFill/>
          </p:grpSpPr>
          <p:sp>
            <p:nvSpPr>
              <p:cNvPr id="295" name="Freeform 7">
                <a:extLst>
                  <a:ext uri="{FF2B5EF4-FFF2-40B4-BE49-F238E27FC236}">
                    <a16:creationId xmlns:a16="http://schemas.microsoft.com/office/drawing/2014/main" id="{C11CF3EC-4F1D-496D-A542-C87378B9AD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7045" y="642734"/>
                <a:ext cx="860240" cy="2085309"/>
              </a:xfrm>
              <a:custGeom>
                <a:avLst/>
                <a:gdLst>
                  <a:gd name="T0" fmla="*/ 86 w 149"/>
                  <a:gd name="T1" fmla="*/ 290 h 348"/>
                  <a:gd name="T2" fmla="*/ 86 w 149"/>
                  <a:gd name="T3" fmla="*/ 290 h 348"/>
                  <a:gd name="T4" fmla="*/ 74 w 149"/>
                  <a:gd name="T5" fmla="*/ 302 h 348"/>
                  <a:gd name="T6" fmla="*/ 62 w 149"/>
                  <a:gd name="T7" fmla="*/ 290 h 348"/>
                  <a:gd name="T8" fmla="*/ 74 w 149"/>
                  <a:gd name="T9" fmla="*/ 278 h 348"/>
                  <a:gd name="T10" fmla="*/ 86 w 149"/>
                  <a:gd name="T11" fmla="*/ 290 h 348"/>
                  <a:gd name="T12" fmla="*/ 149 w 149"/>
                  <a:gd name="T13" fmla="*/ 24 h 348"/>
                  <a:gd name="T14" fmla="*/ 149 w 149"/>
                  <a:gd name="T15" fmla="*/ 24 h 348"/>
                  <a:gd name="T16" fmla="*/ 149 w 149"/>
                  <a:gd name="T17" fmla="*/ 325 h 348"/>
                  <a:gd name="T18" fmla="*/ 124 w 149"/>
                  <a:gd name="T19" fmla="*/ 348 h 348"/>
                  <a:gd name="T20" fmla="*/ 25 w 149"/>
                  <a:gd name="T21" fmla="*/ 348 h 348"/>
                  <a:gd name="T22" fmla="*/ 0 w 149"/>
                  <a:gd name="T23" fmla="*/ 325 h 348"/>
                  <a:gd name="T24" fmla="*/ 0 w 149"/>
                  <a:gd name="T25" fmla="*/ 24 h 348"/>
                  <a:gd name="T26" fmla="*/ 25 w 149"/>
                  <a:gd name="T27" fmla="*/ 0 h 348"/>
                  <a:gd name="T28" fmla="*/ 124 w 149"/>
                  <a:gd name="T29" fmla="*/ 0 h 348"/>
                  <a:gd name="T30" fmla="*/ 149 w 149"/>
                  <a:gd name="T31" fmla="*/ 24 h 348"/>
                  <a:gd name="T32" fmla="*/ 126 w 149"/>
                  <a:gd name="T33" fmla="*/ 324 h 348"/>
                  <a:gd name="T34" fmla="*/ 126 w 149"/>
                  <a:gd name="T35" fmla="*/ 324 h 348"/>
                  <a:gd name="T36" fmla="*/ 126 w 149"/>
                  <a:gd name="T37" fmla="*/ 24 h 348"/>
                  <a:gd name="T38" fmla="*/ 22 w 149"/>
                  <a:gd name="T39" fmla="*/ 24 h 348"/>
                  <a:gd name="T40" fmla="*/ 22 w 149"/>
                  <a:gd name="T41" fmla="*/ 325 h 348"/>
                  <a:gd name="T42" fmla="*/ 124 w 149"/>
                  <a:gd name="T43" fmla="*/ 325 h 348"/>
                  <a:gd name="T44" fmla="*/ 126 w 149"/>
                  <a:gd name="T45" fmla="*/ 324 h 348"/>
                  <a:gd name="T46" fmla="*/ 114 w 149"/>
                  <a:gd name="T47" fmla="*/ 47 h 348"/>
                  <a:gd name="T48" fmla="*/ 114 w 149"/>
                  <a:gd name="T49" fmla="*/ 47 h 348"/>
                  <a:gd name="T50" fmla="*/ 114 w 149"/>
                  <a:gd name="T51" fmla="*/ 244 h 348"/>
                  <a:gd name="T52" fmla="*/ 102 w 149"/>
                  <a:gd name="T53" fmla="*/ 256 h 348"/>
                  <a:gd name="T54" fmla="*/ 46 w 149"/>
                  <a:gd name="T55" fmla="*/ 256 h 348"/>
                  <a:gd name="T56" fmla="*/ 34 w 149"/>
                  <a:gd name="T57" fmla="*/ 244 h 348"/>
                  <a:gd name="T58" fmla="*/ 34 w 149"/>
                  <a:gd name="T59" fmla="*/ 47 h 348"/>
                  <a:gd name="T60" fmla="*/ 46 w 149"/>
                  <a:gd name="T61" fmla="*/ 35 h 348"/>
                  <a:gd name="T62" fmla="*/ 102 w 149"/>
                  <a:gd name="T63" fmla="*/ 35 h 348"/>
                  <a:gd name="T64" fmla="*/ 114 w 149"/>
                  <a:gd name="T65" fmla="*/ 47 h 348"/>
                  <a:gd name="T66" fmla="*/ 57 w 149"/>
                  <a:gd name="T67" fmla="*/ 233 h 348"/>
                  <a:gd name="T68" fmla="*/ 57 w 149"/>
                  <a:gd name="T69" fmla="*/ 233 h 348"/>
                  <a:gd name="T70" fmla="*/ 91 w 149"/>
                  <a:gd name="T71" fmla="*/ 233 h 348"/>
                  <a:gd name="T72" fmla="*/ 91 w 149"/>
                  <a:gd name="T73" fmla="*/ 59 h 348"/>
                  <a:gd name="T74" fmla="*/ 57 w 149"/>
                  <a:gd name="T75" fmla="*/ 59 h 348"/>
                  <a:gd name="T76" fmla="*/ 57 w 149"/>
                  <a:gd name="T77" fmla="*/ 233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9" h="348">
                    <a:moveTo>
                      <a:pt x="86" y="290"/>
                    </a:moveTo>
                    <a:lnTo>
                      <a:pt x="86" y="290"/>
                    </a:lnTo>
                    <a:cubicBezTo>
                      <a:pt x="86" y="297"/>
                      <a:pt x="81" y="302"/>
                      <a:pt x="74" y="302"/>
                    </a:cubicBezTo>
                    <a:cubicBezTo>
                      <a:pt x="68" y="302"/>
                      <a:pt x="62" y="297"/>
                      <a:pt x="62" y="290"/>
                    </a:cubicBezTo>
                    <a:cubicBezTo>
                      <a:pt x="62" y="284"/>
                      <a:pt x="68" y="278"/>
                      <a:pt x="74" y="278"/>
                    </a:cubicBezTo>
                    <a:cubicBezTo>
                      <a:pt x="81" y="278"/>
                      <a:pt x="86" y="284"/>
                      <a:pt x="86" y="290"/>
                    </a:cubicBezTo>
                    <a:close/>
                    <a:moveTo>
                      <a:pt x="149" y="24"/>
                    </a:moveTo>
                    <a:lnTo>
                      <a:pt x="149" y="24"/>
                    </a:lnTo>
                    <a:lnTo>
                      <a:pt x="149" y="325"/>
                    </a:lnTo>
                    <a:cubicBezTo>
                      <a:pt x="149" y="338"/>
                      <a:pt x="138" y="348"/>
                      <a:pt x="124" y="348"/>
                    </a:cubicBezTo>
                    <a:lnTo>
                      <a:pt x="25" y="348"/>
                    </a:lnTo>
                    <a:cubicBezTo>
                      <a:pt x="11" y="348"/>
                      <a:pt x="0" y="338"/>
                      <a:pt x="0" y="32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5" y="0"/>
                    </a:cubicBezTo>
                    <a:lnTo>
                      <a:pt x="124" y="0"/>
                    </a:lnTo>
                    <a:cubicBezTo>
                      <a:pt x="138" y="0"/>
                      <a:pt x="149" y="11"/>
                      <a:pt x="149" y="24"/>
                    </a:cubicBezTo>
                    <a:close/>
                    <a:moveTo>
                      <a:pt x="126" y="324"/>
                    </a:moveTo>
                    <a:lnTo>
                      <a:pt x="126" y="324"/>
                    </a:lnTo>
                    <a:lnTo>
                      <a:pt x="126" y="24"/>
                    </a:lnTo>
                    <a:lnTo>
                      <a:pt x="22" y="24"/>
                    </a:lnTo>
                    <a:lnTo>
                      <a:pt x="22" y="325"/>
                    </a:lnTo>
                    <a:lnTo>
                      <a:pt x="124" y="325"/>
                    </a:lnTo>
                    <a:cubicBezTo>
                      <a:pt x="125" y="325"/>
                      <a:pt x="126" y="325"/>
                      <a:pt x="126" y="324"/>
                    </a:cubicBezTo>
                    <a:close/>
                    <a:moveTo>
                      <a:pt x="114" y="47"/>
                    </a:moveTo>
                    <a:lnTo>
                      <a:pt x="114" y="47"/>
                    </a:lnTo>
                    <a:lnTo>
                      <a:pt x="114" y="244"/>
                    </a:lnTo>
                    <a:cubicBezTo>
                      <a:pt x="114" y="250"/>
                      <a:pt x="109" y="256"/>
                      <a:pt x="102" y="256"/>
                    </a:cubicBezTo>
                    <a:lnTo>
                      <a:pt x="46" y="256"/>
                    </a:lnTo>
                    <a:cubicBezTo>
                      <a:pt x="40" y="256"/>
                      <a:pt x="34" y="250"/>
                      <a:pt x="34" y="244"/>
                    </a:cubicBezTo>
                    <a:lnTo>
                      <a:pt x="34" y="47"/>
                    </a:lnTo>
                    <a:cubicBezTo>
                      <a:pt x="34" y="41"/>
                      <a:pt x="40" y="35"/>
                      <a:pt x="46" y="35"/>
                    </a:cubicBezTo>
                    <a:lnTo>
                      <a:pt x="102" y="35"/>
                    </a:lnTo>
                    <a:cubicBezTo>
                      <a:pt x="109" y="35"/>
                      <a:pt x="114" y="41"/>
                      <a:pt x="114" y="47"/>
                    </a:cubicBezTo>
                    <a:close/>
                    <a:moveTo>
                      <a:pt x="57" y="233"/>
                    </a:moveTo>
                    <a:lnTo>
                      <a:pt x="57" y="233"/>
                    </a:lnTo>
                    <a:lnTo>
                      <a:pt x="91" y="233"/>
                    </a:lnTo>
                    <a:lnTo>
                      <a:pt x="91" y="59"/>
                    </a:lnTo>
                    <a:lnTo>
                      <a:pt x="57" y="59"/>
                    </a:lnTo>
                    <a:lnTo>
                      <a:pt x="57" y="233"/>
                    </a:lnTo>
                    <a:close/>
                  </a:path>
                </a:pathLst>
              </a:custGeom>
              <a:grpFill/>
              <a:ln w="12700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  <p:grpSp>
            <p:nvGrpSpPr>
              <p:cNvPr id="296" name="Group 295">
                <a:extLst>
                  <a:ext uri="{FF2B5EF4-FFF2-40B4-BE49-F238E27FC236}">
                    <a16:creationId xmlns:a16="http://schemas.microsoft.com/office/drawing/2014/main" id="{FBFE5D65-A41A-84BD-956B-CA9CF237FF34}"/>
                  </a:ext>
                </a:extLst>
              </p:cNvPr>
              <p:cNvGrpSpPr/>
              <p:nvPr/>
            </p:nvGrpSpPr>
            <p:grpSpPr>
              <a:xfrm>
                <a:off x="4420477" y="1307204"/>
                <a:ext cx="1173300" cy="1566345"/>
                <a:chOff x="9265934" y="2596594"/>
                <a:chExt cx="1173300" cy="1566345"/>
              </a:xfrm>
              <a:grpFill/>
            </p:grpSpPr>
            <p:sp>
              <p:nvSpPr>
                <p:cNvPr id="297" name="Freeform 12">
                  <a:extLst>
                    <a:ext uri="{FF2B5EF4-FFF2-40B4-BE49-F238E27FC236}">
                      <a16:creationId xmlns:a16="http://schemas.microsoft.com/office/drawing/2014/main" id="{D85E4CA6-6D7F-707C-A5DE-0ED901BA5F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265934" y="2596594"/>
                  <a:ext cx="1173300" cy="1451261"/>
                </a:xfrm>
                <a:custGeom>
                  <a:avLst/>
                  <a:gdLst>
                    <a:gd name="T0" fmla="*/ 22 w 372"/>
                    <a:gd name="T1" fmla="*/ 84 h 474"/>
                    <a:gd name="T2" fmla="*/ 186 w 372"/>
                    <a:gd name="T3" fmla="*/ 144 h 474"/>
                    <a:gd name="T4" fmla="*/ 186 w 372"/>
                    <a:gd name="T5" fmla="*/ 372 h 474"/>
                    <a:gd name="T6" fmla="*/ 351 w 372"/>
                    <a:gd name="T7" fmla="*/ 391 h 474"/>
                    <a:gd name="T8" fmla="*/ 22 w 372"/>
                    <a:gd name="T9" fmla="*/ 393 h 474"/>
                    <a:gd name="T10" fmla="*/ 22 w 372"/>
                    <a:gd name="T11" fmla="*/ 328 h 474"/>
                    <a:gd name="T12" fmla="*/ 322 w 372"/>
                    <a:gd name="T13" fmla="*/ 320 h 474"/>
                    <a:gd name="T14" fmla="*/ 252 w 372"/>
                    <a:gd name="T15" fmla="*/ 343 h 474"/>
                    <a:gd name="T16" fmla="*/ 234 w 372"/>
                    <a:gd name="T17" fmla="*/ 346 h 474"/>
                    <a:gd name="T18" fmla="*/ 214 w 372"/>
                    <a:gd name="T19" fmla="*/ 347 h 474"/>
                    <a:gd name="T20" fmla="*/ 158 w 372"/>
                    <a:gd name="T21" fmla="*/ 347 h 474"/>
                    <a:gd name="T22" fmla="*/ 138 w 372"/>
                    <a:gd name="T23" fmla="*/ 346 h 474"/>
                    <a:gd name="T24" fmla="*/ 59 w 372"/>
                    <a:gd name="T25" fmla="*/ 325 h 474"/>
                    <a:gd name="T26" fmla="*/ 42 w 372"/>
                    <a:gd name="T27" fmla="*/ 315 h 474"/>
                    <a:gd name="T28" fmla="*/ 35 w 372"/>
                    <a:gd name="T29" fmla="*/ 310 h 474"/>
                    <a:gd name="T30" fmla="*/ 27 w 372"/>
                    <a:gd name="T31" fmla="*/ 301 h 474"/>
                    <a:gd name="T32" fmla="*/ 23 w 372"/>
                    <a:gd name="T33" fmla="*/ 294 h 474"/>
                    <a:gd name="T34" fmla="*/ 22 w 372"/>
                    <a:gd name="T35" fmla="*/ 226 h 474"/>
                    <a:gd name="T36" fmla="*/ 351 w 372"/>
                    <a:gd name="T37" fmla="*/ 227 h 474"/>
                    <a:gd name="T38" fmla="*/ 351 w 372"/>
                    <a:gd name="T39" fmla="*/ 291 h 474"/>
                    <a:gd name="T40" fmla="*/ 349 w 372"/>
                    <a:gd name="T41" fmla="*/ 296 h 474"/>
                    <a:gd name="T42" fmla="*/ 344 w 372"/>
                    <a:gd name="T43" fmla="*/ 304 h 474"/>
                    <a:gd name="T44" fmla="*/ 336 w 372"/>
                    <a:gd name="T45" fmla="*/ 311 h 474"/>
                    <a:gd name="T46" fmla="*/ 323 w 372"/>
                    <a:gd name="T47" fmla="*/ 320 h 474"/>
                    <a:gd name="T48" fmla="*/ 48 w 372"/>
                    <a:gd name="T49" fmla="*/ 221 h 474"/>
                    <a:gd name="T50" fmla="*/ 48 w 372"/>
                    <a:gd name="T51" fmla="*/ 221 h 474"/>
                    <a:gd name="T52" fmla="*/ 22 w 372"/>
                    <a:gd name="T53" fmla="*/ 124 h 474"/>
                    <a:gd name="T54" fmla="*/ 29 w 372"/>
                    <a:gd name="T55" fmla="*/ 130 h 474"/>
                    <a:gd name="T56" fmla="*/ 48 w 372"/>
                    <a:gd name="T57" fmla="*/ 142 h 474"/>
                    <a:gd name="T58" fmla="*/ 64 w 372"/>
                    <a:gd name="T59" fmla="*/ 148 h 474"/>
                    <a:gd name="T60" fmla="*/ 90 w 372"/>
                    <a:gd name="T61" fmla="*/ 157 h 474"/>
                    <a:gd name="T62" fmla="*/ 110 w 372"/>
                    <a:gd name="T63" fmla="*/ 161 h 474"/>
                    <a:gd name="T64" fmla="*/ 143 w 372"/>
                    <a:gd name="T65" fmla="*/ 166 h 474"/>
                    <a:gd name="T66" fmla="*/ 167 w 372"/>
                    <a:gd name="T67" fmla="*/ 168 h 474"/>
                    <a:gd name="T68" fmla="*/ 226 w 372"/>
                    <a:gd name="T69" fmla="*/ 166 h 474"/>
                    <a:gd name="T70" fmla="*/ 250 w 372"/>
                    <a:gd name="T71" fmla="*/ 163 h 474"/>
                    <a:gd name="T72" fmla="*/ 281 w 372"/>
                    <a:gd name="T73" fmla="*/ 157 h 474"/>
                    <a:gd name="T74" fmla="*/ 300 w 372"/>
                    <a:gd name="T75" fmla="*/ 152 h 474"/>
                    <a:gd name="T76" fmla="*/ 323 w 372"/>
                    <a:gd name="T77" fmla="*/ 142 h 474"/>
                    <a:gd name="T78" fmla="*/ 336 w 372"/>
                    <a:gd name="T79" fmla="*/ 135 h 474"/>
                    <a:gd name="T80" fmla="*/ 351 w 372"/>
                    <a:gd name="T81" fmla="*/ 124 h 474"/>
                    <a:gd name="T82" fmla="*/ 350 w 372"/>
                    <a:gd name="T83" fmla="*/ 192 h 474"/>
                    <a:gd name="T84" fmla="*/ 346 w 372"/>
                    <a:gd name="T85" fmla="*/ 199 h 474"/>
                    <a:gd name="T86" fmla="*/ 338 w 372"/>
                    <a:gd name="T87" fmla="*/ 208 h 474"/>
                    <a:gd name="T88" fmla="*/ 330 w 372"/>
                    <a:gd name="T89" fmla="*/ 214 h 474"/>
                    <a:gd name="T90" fmla="*/ 313 w 372"/>
                    <a:gd name="T91" fmla="*/ 223 h 474"/>
                    <a:gd name="T92" fmla="*/ 237 w 372"/>
                    <a:gd name="T93" fmla="*/ 243 h 474"/>
                    <a:gd name="T94" fmla="*/ 216 w 372"/>
                    <a:gd name="T95" fmla="*/ 245 h 474"/>
                    <a:gd name="T96" fmla="*/ 169 w 372"/>
                    <a:gd name="T97" fmla="*/ 246 h 474"/>
                    <a:gd name="T98" fmla="*/ 139 w 372"/>
                    <a:gd name="T99" fmla="*/ 244 h 474"/>
                    <a:gd name="T100" fmla="*/ 121 w 372"/>
                    <a:gd name="T101" fmla="*/ 241 h 474"/>
                    <a:gd name="T102" fmla="*/ 50 w 372"/>
                    <a:gd name="T103" fmla="*/ 218 h 474"/>
                    <a:gd name="T104" fmla="*/ 36 w 372"/>
                    <a:gd name="T105" fmla="*/ 209 h 474"/>
                    <a:gd name="T106" fmla="*/ 29 w 372"/>
                    <a:gd name="T107" fmla="*/ 202 h 474"/>
                    <a:gd name="T108" fmla="*/ 24 w 372"/>
                    <a:gd name="T109" fmla="*/ 194 h 474"/>
                    <a:gd name="T110" fmla="*/ 22 w 372"/>
                    <a:gd name="T111" fmla="*/ 186 h 474"/>
                    <a:gd name="T112" fmla="*/ 371 w 372"/>
                    <a:gd name="T113" fmla="*/ 74 h 474"/>
                    <a:gd name="T114" fmla="*/ 2 w 372"/>
                    <a:gd name="T115" fmla="*/ 74 h 474"/>
                    <a:gd name="T116" fmla="*/ 1 w 372"/>
                    <a:gd name="T117" fmla="*/ 399 h 474"/>
                    <a:gd name="T118" fmla="*/ 372 w 372"/>
                    <a:gd name="T119" fmla="*/ 394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72" h="474">
                      <a:moveTo>
                        <a:pt x="186" y="144"/>
                      </a:moveTo>
                      <a:lnTo>
                        <a:pt x="186" y="144"/>
                      </a:lnTo>
                      <a:cubicBezTo>
                        <a:pt x="84" y="144"/>
                        <a:pt x="22" y="109"/>
                        <a:pt x="22" y="84"/>
                      </a:cubicBezTo>
                      <a:cubicBezTo>
                        <a:pt x="22" y="46"/>
                        <a:pt x="118" y="23"/>
                        <a:pt x="186" y="23"/>
                      </a:cubicBezTo>
                      <a:cubicBezTo>
                        <a:pt x="288" y="23"/>
                        <a:pt x="351" y="59"/>
                        <a:pt x="351" y="84"/>
                      </a:cubicBezTo>
                      <a:cubicBezTo>
                        <a:pt x="351" y="109"/>
                        <a:pt x="288" y="144"/>
                        <a:pt x="186" y="144"/>
                      </a:cubicBezTo>
                      <a:lnTo>
                        <a:pt x="186" y="144"/>
                      </a:lnTo>
                      <a:close/>
                      <a:moveTo>
                        <a:pt x="186" y="372"/>
                      </a:moveTo>
                      <a:lnTo>
                        <a:pt x="186" y="372"/>
                      </a:lnTo>
                      <a:cubicBezTo>
                        <a:pt x="259" y="372"/>
                        <a:pt x="319" y="356"/>
                        <a:pt x="351" y="329"/>
                      </a:cubicBezTo>
                      <a:cubicBezTo>
                        <a:pt x="351" y="328"/>
                        <a:pt x="351" y="328"/>
                        <a:pt x="351" y="328"/>
                      </a:cubicBezTo>
                      <a:lnTo>
                        <a:pt x="351" y="391"/>
                      </a:lnTo>
                      <a:lnTo>
                        <a:pt x="351" y="392"/>
                      </a:lnTo>
                      <a:cubicBezTo>
                        <a:pt x="347" y="420"/>
                        <a:pt x="279" y="450"/>
                        <a:pt x="186" y="450"/>
                      </a:cubicBezTo>
                      <a:cubicBezTo>
                        <a:pt x="94" y="450"/>
                        <a:pt x="26" y="420"/>
                        <a:pt x="22" y="393"/>
                      </a:cubicBezTo>
                      <a:cubicBezTo>
                        <a:pt x="22" y="392"/>
                        <a:pt x="22" y="392"/>
                        <a:pt x="22" y="392"/>
                      </a:cubicBezTo>
                      <a:lnTo>
                        <a:pt x="22" y="328"/>
                      </a:lnTo>
                      <a:cubicBezTo>
                        <a:pt x="22" y="328"/>
                        <a:pt x="22" y="328"/>
                        <a:pt x="22" y="328"/>
                      </a:cubicBezTo>
                      <a:cubicBezTo>
                        <a:pt x="53" y="356"/>
                        <a:pt x="113" y="372"/>
                        <a:pt x="186" y="372"/>
                      </a:cubicBezTo>
                      <a:lnTo>
                        <a:pt x="186" y="372"/>
                      </a:lnTo>
                      <a:close/>
                      <a:moveTo>
                        <a:pt x="322" y="320"/>
                      </a:moveTo>
                      <a:lnTo>
                        <a:pt x="322" y="320"/>
                      </a:lnTo>
                      <a:cubicBezTo>
                        <a:pt x="320" y="322"/>
                        <a:pt x="317" y="323"/>
                        <a:pt x="313" y="325"/>
                      </a:cubicBezTo>
                      <a:cubicBezTo>
                        <a:pt x="297" y="333"/>
                        <a:pt x="275" y="339"/>
                        <a:pt x="252" y="343"/>
                      </a:cubicBezTo>
                      <a:lnTo>
                        <a:pt x="251" y="343"/>
                      </a:lnTo>
                      <a:cubicBezTo>
                        <a:pt x="247" y="344"/>
                        <a:pt x="242" y="345"/>
                        <a:pt x="237" y="345"/>
                      </a:cubicBezTo>
                      <a:lnTo>
                        <a:pt x="234" y="346"/>
                      </a:lnTo>
                      <a:cubicBezTo>
                        <a:pt x="230" y="346"/>
                        <a:pt x="225" y="347"/>
                        <a:pt x="221" y="347"/>
                      </a:cubicBezTo>
                      <a:cubicBezTo>
                        <a:pt x="220" y="347"/>
                        <a:pt x="219" y="347"/>
                        <a:pt x="217" y="347"/>
                      </a:cubicBezTo>
                      <a:lnTo>
                        <a:pt x="214" y="347"/>
                      </a:lnTo>
                      <a:cubicBezTo>
                        <a:pt x="210" y="348"/>
                        <a:pt x="207" y="348"/>
                        <a:pt x="204" y="348"/>
                      </a:cubicBezTo>
                      <a:cubicBezTo>
                        <a:pt x="192" y="349"/>
                        <a:pt x="180" y="349"/>
                        <a:pt x="169" y="348"/>
                      </a:cubicBezTo>
                      <a:cubicBezTo>
                        <a:pt x="165" y="348"/>
                        <a:pt x="162" y="348"/>
                        <a:pt x="158" y="347"/>
                      </a:cubicBezTo>
                      <a:lnTo>
                        <a:pt x="157" y="347"/>
                      </a:lnTo>
                      <a:cubicBezTo>
                        <a:pt x="155" y="347"/>
                        <a:pt x="154" y="347"/>
                        <a:pt x="152" y="347"/>
                      </a:cubicBezTo>
                      <a:cubicBezTo>
                        <a:pt x="147" y="347"/>
                        <a:pt x="143" y="346"/>
                        <a:pt x="138" y="346"/>
                      </a:cubicBezTo>
                      <a:cubicBezTo>
                        <a:pt x="137" y="345"/>
                        <a:pt x="137" y="345"/>
                        <a:pt x="136" y="345"/>
                      </a:cubicBezTo>
                      <a:cubicBezTo>
                        <a:pt x="131" y="345"/>
                        <a:pt x="126" y="344"/>
                        <a:pt x="121" y="343"/>
                      </a:cubicBezTo>
                      <a:cubicBezTo>
                        <a:pt x="98" y="339"/>
                        <a:pt x="76" y="333"/>
                        <a:pt x="59" y="325"/>
                      </a:cubicBezTo>
                      <a:cubicBezTo>
                        <a:pt x="56" y="323"/>
                        <a:pt x="53" y="322"/>
                        <a:pt x="51" y="320"/>
                      </a:cubicBezTo>
                      <a:lnTo>
                        <a:pt x="50" y="320"/>
                      </a:lnTo>
                      <a:cubicBezTo>
                        <a:pt x="47" y="319"/>
                        <a:pt x="45" y="317"/>
                        <a:pt x="42" y="315"/>
                      </a:cubicBezTo>
                      <a:lnTo>
                        <a:pt x="41" y="315"/>
                      </a:lnTo>
                      <a:cubicBezTo>
                        <a:pt x="40" y="314"/>
                        <a:pt x="38" y="312"/>
                        <a:pt x="36" y="311"/>
                      </a:cubicBezTo>
                      <a:lnTo>
                        <a:pt x="35" y="310"/>
                      </a:lnTo>
                      <a:cubicBezTo>
                        <a:pt x="33" y="308"/>
                        <a:pt x="32" y="307"/>
                        <a:pt x="31" y="306"/>
                      </a:cubicBezTo>
                      <a:cubicBezTo>
                        <a:pt x="30" y="306"/>
                        <a:pt x="30" y="305"/>
                        <a:pt x="29" y="304"/>
                      </a:cubicBezTo>
                      <a:cubicBezTo>
                        <a:pt x="28" y="303"/>
                        <a:pt x="27" y="302"/>
                        <a:pt x="27" y="301"/>
                      </a:cubicBezTo>
                      <a:cubicBezTo>
                        <a:pt x="26" y="300"/>
                        <a:pt x="26" y="300"/>
                        <a:pt x="25" y="299"/>
                      </a:cubicBezTo>
                      <a:cubicBezTo>
                        <a:pt x="25" y="298"/>
                        <a:pt x="24" y="297"/>
                        <a:pt x="24" y="296"/>
                      </a:cubicBezTo>
                      <a:cubicBezTo>
                        <a:pt x="23" y="296"/>
                        <a:pt x="23" y="295"/>
                        <a:pt x="23" y="294"/>
                      </a:cubicBezTo>
                      <a:cubicBezTo>
                        <a:pt x="22" y="293"/>
                        <a:pt x="22" y="292"/>
                        <a:pt x="22" y="291"/>
                      </a:cubicBezTo>
                      <a:cubicBezTo>
                        <a:pt x="22" y="290"/>
                        <a:pt x="22" y="289"/>
                        <a:pt x="22" y="288"/>
                      </a:cubicBezTo>
                      <a:lnTo>
                        <a:pt x="22" y="226"/>
                      </a:lnTo>
                      <a:cubicBezTo>
                        <a:pt x="22" y="226"/>
                        <a:pt x="22" y="226"/>
                        <a:pt x="22" y="226"/>
                      </a:cubicBezTo>
                      <a:cubicBezTo>
                        <a:pt x="53" y="254"/>
                        <a:pt x="113" y="270"/>
                        <a:pt x="186" y="270"/>
                      </a:cubicBezTo>
                      <a:cubicBezTo>
                        <a:pt x="259" y="270"/>
                        <a:pt x="319" y="254"/>
                        <a:pt x="351" y="227"/>
                      </a:cubicBezTo>
                      <a:cubicBezTo>
                        <a:pt x="351" y="226"/>
                        <a:pt x="351" y="226"/>
                        <a:pt x="351" y="226"/>
                      </a:cubicBezTo>
                      <a:lnTo>
                        <a:pt x="351" y="288"/>
                      </a:lnTo>
                      <a:cubicBezTo>
                        <a:pt x="351" y="289"/>
                        <a:pt x="351" y="290"/>
                        <a:pt x="351" y="291"/>
                      </a:cubicBezTo>
                      <a:lnTo>
                        <a:pt x="351" y="291"/>
                      </a:lnTo>
                      <a:cubicBezTo>
                        <a:pt x="350" y="292"/>
                        <a:pt x="350" y="293"/>
                        <a:pt x="350" y="294"/>
                      </a:cubicBezTo>
                      <a:cubicBezTo>
                        <a:pt x="350" y="295"/>
                        <a:pt x="349" y="296"/>
                        <a:pt x="349" y="296"/>
                      </a:cubicBezTo>
                      <a:cubicBezTo>
                        <a:pt x="349" y="297"/>
                        <a:pt x="348" y="298"/>
                        <a:pt x="348" y="299"/>
                      </a:cubicBezTo>
                      <a:cubicBezTo>
                        <a:pt x="347" y="300"/>
                        <a:pt x="347" y="301"/>
                        <a:pt x="346" y="301"/>
                      </a:cubicBezTo>
                      <a:cubicBezTo>
                        <a:pt x="345" y="302"/>
                        <a:pt x="344" y="303"/>
                        <a:pt x="344" y="304"/>
                      </a:cubicBezTo>
                      <a:cubicBezTo>
                        <a:pt x="343" y="305"/>
                        <a:pt x="342" y="306"/>
                        <a:pt x="342" y="306"/>
                      </a:cubicBezTo>
                      <a:cubicBezTo>
                        <a:pt x="341" y="307"/>
                        <a:pt x="340" y="308"/>
                        <a:pt x="338" y="310"/>
                      </a:cubicBezTo>
                      <a:cubicBezTo>
                        <a:pt x="338" y="310"/>
                        <a:pt x="337" y="311"/>
                        <a:pt x="336" y="311"/>
                      </a:cubicBezTo>
                      <a:cubicBezTo>
                        <a:pt x="335" y="312"/>
                        <a:pt x="333" y="314"/>
                        <a:pt x="331" y="315"/>
                      </a:cubicBezTo>
                      <a:cubicBezTo>
                        <a:pt x="331" y="315"/>
                        <a:pt x="330" y="316"/>
                        <a:pt x="330" y="316"/>
                      </a:cubicBezTo>
                      <a:cubicBezTo>
                        <a:pt x="328" y="317"/>
                        <a:pt x="325" y="319"/>
                        <a:pt x="323" y="320"/>
                      </a:cubicBezTo>
                      <a:lnTo>
                        <a:pt x="322" y="320"/>
                      </a:lnTo>
                      <a:lnTo>
                        <a:pt x="322" y="320"/>
                      </a:lnTo>
                      <a:close/>
                      <a:moveTo>
                        <a:pt x="48" y="221"/>
                      </a:move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lnTo>
                        <a:pt x="48" y="221"/>
                      </a:lnTo>
                      <a:close/>
                      <a:moveTo>
                        <a:pt x="22" y="124"/>
                      </a:moveTo>
                      <a:lnTo>
                        <a:pt x="22" y="124"/>
                      </a:lnTo>
                      <a:cubicBezTo>
                        <a:pt x="23" y="126"/>
                        <a:pt x="26" y="127"/>
                        <a:pt x="28" y="129"/>
                      </a:cubicBezTo>
                      <a:lnTo>
                        <a:pt x="29" y="130"/>
                      </a:lnTo>
                      <a:cubicBezTo>
                        <a:pt x="32" y="132"/>
                        <a:pt x="34" y="133"/>
                        <a:pt x="37" y="135"/>
                      </a:cubicBezTo>
                      <a:lnTo>
                        <a:pt x="39" y="137"/>
                      </a:lnTo>
                      <a:cubicBezTo>
                        <a:pt x="42" y="138"/>
                        <a:pt x="45" y="140"/>
                        <a:pt x="48" y="142"/>
                      </a:cubicBezTo>
                      <a:cubicBezTo>
                        <a:pt x="49" y="142"/>
                        <a:pt x="49" y="142"/>
                        <a:pt x="49" y="142"/>
                      </a:cubicBezTo>
                      <a:cubicBezTo>
                        <a:pt x="53" y="144"/>
                        <a:pt x="56" y="145"/>
                        <a:pt x="60" y="147"/>
                      </a:cubicBezTo>
                      <a:lnTo>
                        <a:pt x="64" y="148"/>
                      </a:lnTo>
                      <a:cubicBezTo>
                        <a:pt x="67" y="150"/>
                        <a:pt x="70" y="151"/>
                        <a:pt x="74" y="152"/>
                      </a:cubicBezTo>
                      <a:cubicBezTo>
                        <a:pt x="75" y="152"/>
                        <a:pt x="76" y="153"/>
                        <a:pt x="77" y="153"/>
                      </a:cubicBezTo>
                      <a:cubicBezTo>
                        <a:pt x="81" y="154"/>
                        <a:pt x="85" y="156"/>
                        <a:pt x="90" y="157"/>
                      </a:cubicBezTo>
                      <a:cubicBezTo>
                        <a:pt x="90" y="157"/>
                        <a:pt x="91" y="157"/>
                        <a:pt x="92" y="157"/>
                      </a:cubicBezTo>
                      <a:cubicBezTo>
                        <a:pt x="96" y="158"/>
                        <a:pt x="101" y="159"/>
                        <a:pt x="105" y="160"/>
                      </a:cubicBezTo>
                      <a:lnTo>
                        <a:pt x="110" y="161"/>
                      </a:lnTo>
                      <a:cubicBezTo>
                        <a:pt x="114" y="162"/>
                        <a:pt x="118" y="163"/>
                        <a:pt x="122" y="163"/>
                      </a:cubicBezTo>
                      <a:lnTo>
                        <a:pt x="126" y="164"/>
                      </a:lnTo>
                      <a:cubicBezTo>
                        <a:pt x="131" y="165"/>
                        <a:pt x="137" y="165"/>
                        <a:pt x="143" y="166"/>
                      </a:cubicBezTo>
                      <a:lnTo>
                        <a:pt x="147" y="166"/>
                      </a:lnTo>
                      <a:cubicBezTo>
                        <a:pt x="152" y="167"/>
                        <a:pt x="156" y="167"/>
                        <a:pt x="161" y="167"/>
                      </a:cubicBezTo>
                      <a:lnTo>
                        <a:pt x="167" y="168"/>
                      </a:lnTo>
                      <a:cubicBezTo>
                        <a:pt x="180" y="168"/>
                        <a:pt x="193" y="168"/>
                        <a:pt x="206" y="168"/>
                      </a:cubicBezTo>
                      <a:lnTo>
                        <a:pt x="212" y="167"/>
                      </a:lnTo>
                      <a:cubicBezTo>
                        <a:pt x="217" y="167"/>
                        <a:pt x="221" y="167"/>
                        <a:pt x="226" y="166"/>
                      </a:cubicBezTo>
                      <a:lnTo>
                        <a:pt x="230" y="166"/>
                      </a:lnTo>
                      <a:cubicBezTo>
                        <a:pt x="236" y="165"/>
                        <a:pt x="241" y="165"/>
                        <a:pt x="247" y="164"/>
                      </a:cubicBezTo>
                      <a:lnTo>
                        <a:pt x="250" y="163"/>
                      </a:lnTo>
                      <a:cubicBezTo>
                        <a:pt x="255" y="163"/>
                        <a:pt x="259" y="162"/>
                        <a:pt x="263" y="161"/>
                      </a:cubicBezTo>
                      <a:lnTo>
                        <a:pt x="268" y="160"/>
                      </a:lnTo>
                      <a:cubicBezTo>
                        <a:pt x="272" y="159"/>
                        <a:pt x="276" y="158"/>
                        <a:pt x="281" y="157"/>
                      </a:cubicBezTo>
                      <a:lnTo>
                        <a:pt x="283" y="157"/>
                      </a:lnTo>
                      <a:cubicBezTo>
                        <a:pt x="287" y="156"/>
                        <a:pt x="292" y="154"/>
                        <a:pt x="296" y="153"/>
                      </a:cubicBezTo>
                      <a:lnTo>
                        <a:pt x="300" y="152"/>
                      </a:lnTo>
                      <a:cubicBezTo>
                        <a:pt x="303" y="151"/>
                        <a:pt x="306" y="150"/>
                        <a:pt x="309" y="148"/>
                      </a:cubicBezTo>
                      <a:lnTo>
                        <a:pt x="312" y="147"/>
                      </a:lnTo>
                      <a:cubicBezTo>
                        <a:pt x="316" y="145"/>
                        <a:pt x="320" y="144"/>
                        <a:pt x="323" y="142"/>
                      </a:cubicBezTo>
                      <a:cubicBezTo>
                        <a:pt x="324" y="142"/>
                        <a:pt x="324" y="142"/>
                        <a:pt x="325" y="141"/>
                      </a:cubicBezTo>
                      <a:cubicBezTo>
                        <a:pt x="328" y="140"/>
                        <a:pt x="331" y="138"/>
                        <a:pt x="334" y="137"/>
                      </a:cubicBezTo>
                      <a:lnTo>
                        <a:pt x="336" y="135"/>
                      </a:lnTo>
                      <a:cubicBezTo>
                        <a:pt x="339" y="133"/>
                        <a:pt x="341" y="132"/>
                        <a:pt x="344" y="130"/>
                      </a:cubicBezTo>
                      <a:lnTo>
                        <a:pt x="345" y="129"/>
                      </a:lnTo>
                      <a:cubicBezTo>
                        <a:pt x="347" y="127"/>
                        <a:pt x="349" y="126"/>
                        <a:pt x="351" y="124"/>
                      </a:cubicBezTo>
                      <a:lnTo>
                        <a:pt x="351" y="186"/>
                      </a:lnTo>
                      <a:cubicBezTo>
                        <a:pt x="351" y="187"/>
                        <a:pt x="351" y="188"/>
                        <a:pt x="351" y="189"/>
                      </a:cubicBezTo>
                      <a:cubicBezTo>
                        <a:pt x="350" y="190"/>
                        <a:pt x="350" y="191"/>
                        <a:pt x="350" y="192"/>
                      </a:cubicBezTo>
                      <a:cubicBezTo>
                        <a:pt x="350" y="193"/>
                        <a:pt x="349" y="194"/>
                        <a:pt x="349" y="194"/>
                      </a:cubicBezTo>
                      <a:cubicBezTo>
                        <a:pt x="349" y="195"/>
                        <a:pt x="348" y="196"/>
                        <a:pt x="348" y="197"/>
                      </a:cubicBezTo>
                      <a:cubicBezTo>
                        <a:pt x="347" y="198"/>
                        <a:pt x="347" y="198"/>
                        <a:pt x="346" y="199"/>
                      </a:cubicBezTo>
                      <a:cubicBezTo>
                        <a:pt x="345" y="200"/>
                        <a:pt x="345" y="201"/>
                        <a:pt x="344" y="202"/>
                      </a:cubicBezTo>
                      <a:lnTo>
                        <a:pt x="342" y="204"/>
                      </a:lnTo>
                      <a:cubicBezTo>
                        <a:pt x="341" y="205"/>
                        <a:pt x="340" y="206"/>
                        <a:pt x="338" y="208"/>
                      </a:cubicBezTo>
                      <a:lnTo>
                        <a:pt x="336" y="209"/>
                      </a:lnTo>
                      <a:cubicBezTo>
                        <a:pt x="335" y="210"/>
                        <a:pt x="333" y="212"/>
                        <a:pt x="331" y="213"/>
                      </a:cubicBezTo>
                      <a:lnTo>
                        <a:pt x="330" y="214"/>
                      </a:lnTo>
                      <a:cubicBezTo>
                        <a:pt x="328" y="215"/>
                        <a:pt x="325" y="217"/>
                        <a:pt x="323" y="218"/>
                      </a:cubicBezTo>
                      <a:lnTo>
                        <a:pt x="322" y="218"/>
                      </a:lnTo>
                      <a:cubicBezTo>
                        <a:pt x="319" y="220"/>
                        <a:pt x="317" y="221"/>
                        <a:pt x="313" y="223"/>
                      </a:cubicBezTo>
                      <a:cubicBezTo>
                        <a:pt x="296" y="231"/>
                        <a:pt x="275" y="237"/>
                        <a:pt x="252" y="241"/>
                      </a:cubicBezTo>
                      <a:lnTo>
                        <a:pt x="251" y="241"/>
                      </a:lnTo>
                      <a:cubicBezTo>
                        <a:pt x="247" y="242"/>
                        <a:pt x="242" y="243"/>
                        <a:pt x="237" y="243"/>
                      </a:cubicBezTo>
                      <a:cubicBezTo>
                        <a:pt x="236" y="243"/>
                        <a:pt x="235" y="243"/>
                        <a:pt x="234" y="244"/>
                      </a:cubicBezTo>
                      <a:cubicBezTo>
                        <a:pt x="230" y="244"/>
                        <a:pt x="225" y="245"/>
                        <a:pt x="221" y="245"/>
                      </a:cubicBezTo>
                      <a:cubicBezTo>
                        <a:pt x="219" y="245"/>
                        <a:pt x="217" y="245"/>
                        <a:pt x="216" y="245"/>
                      </a:cubicBezTo>
                      <a:lnTo>
                        <a:pt x="214" y="245"/>
                      </a:lnTo>
                      <a:cubicBezTo>
                        <a:pt x="211" y="246"/>
                        <a:pt x="207" y="246"/>
                        <a:pt x="204" y="246"/>
                      </a:cubicBezTo>
                      <a:cubicBezTo>
                        <a:pt x="192" y="246"/>
                        <a:pt x="180" y="246"/>
                        <a:pt x="169" y="246"/>
                      </a:cubicBezTo>
                      <a:cubicBezTo>
                        <a:pt x="166" y="246"/>
                        <a:pt x="164" y="246"/>
                        <a:pt x="162" y="246"/>
                      </a:cubicBezTo>
                      <a:lnTo>
                        <a:pt x="152" y="245"/>
                      </a:lnTo>
                      <a:cubicBezTo>
                        <a:pt x="147" y="245"/>
                        <a:pt x="143" y="244"/>
                        <a:pt x="139" y="244"/>
                      </a:cubicBezTo>
                      <a:lnTo>
                        <a:pt x="136" y="243"/>
                      </a:lnTo>
                      <a:cubicBezTo>
                        <a:pt x="131" y="243"/>
                        <a:pt x="126" y="242"/>
                        <a:pt x="122" y="241"/>
                      </a:cubicBezTo>
                      <a:lnTo>
                        <a:pt x="121" y="241"/>
                      </a:lnTo>
                      <a:cubicBezTo>
                        <a:pt x="98" y="237"/>
                        <a:pt x="76" y="231"/>
                        <a:pt x="59" y="223"/>
                      </a:cubicBezTo>
                      <a:cubicBezTo>
                        <a:pt x="56" y="221"/>
                        <a:pt x="53" y="220"/>
                        <a:pt x="51" y="219"/>
                      </a:cubicBezTo>
                      <a:cubicBezTo>
                        <a:pt x="50" y="218"/>
                        <a:pt x="50" y="218"/>
                        <a:pt x="50" y="218"/>
                      </a:cubicBezTo>
                      <a:cubicBezTo>
                        <a:pt x="47" y="217"/>
                        <a:pt x="45" y="215"/>
                        <a:pt x="43" y="214"/>
                      </a:cubicBezTo>
                      <a:lnTo>
                        <a:pt x="41" y="213"/>
                      </a:lnTo>
                      <a:cubicBezTo>
                        <a:pt x="40" y="212"/>
                        <a:pt x="38" y="210"/>
                        <a:pt x="36" y="209"/>
                      </a:cubicBezTo>
                      <a:cubicBezTo>
                        <a:pt x="36" y="209"/>
                        <a:pt x="35" y="208"/>
                        <a:pt x="35" y="208"/>
                      </a:cubicBezTo>
                      <a:cubicBezTo>
                        <a:pt x="33" y="206"/>
                        <a:pt x="32" y="205"/>
                        <a:pt x="31" y="204"/>
                      </a:cubicBezTo>
                      <a:cubicBezTo>
                        <a:pt x="30" y="204"/>
                        <a:pt x="30" y="203"/>
                        <a:pt x="29" y="202"/>
                      </a:cubicBezTo>
                      <a:cubicBezTo>
                        <a:pt x="28" y="201"/>
                        <a:pt x="27" y="200"/>
                        <a:pt x="27" y="199"/>
                      </a:cubicBezTo>
                      <a:cubicBezTo>
                        <a:pt x="26" y="198"/>
                        <a:pt x="26" y="198"/>
                        <a:pt x="25" y="197"/>
                      </a:cubicBezTo>
                      <a:cubicBezTo>
                        <a:pt x="25" y="196"/>
                        <a:pt x="24" y="195"/>
                        <a:pt x="24" y="194"/>
                      </a:cubicBezTo>
                      <a:cubicBezTo>
                        <a:pt x="23" y="193"/>
                        <a:pt x="23" y="193"/>
                        <a:pt x="23" y="192"/>
                      </a:cubicBezTo>
                      <a:cubicBezTo>
                        <a:pt x="22" y="191"/>
                        <a:pt x="22" y="190"/>
                        <a:pt x="22" y="189"/>
                      </a:cubicBezTo>
                      <a:cubicBezTo>
                        <a:pt x="22" y="188"/>
                        <a:pt x="22" y="187"/>
                        <a:pt x="22" y="186"/>
                      </a:cubicBezTo>
                      <a:lnTo>
                        <a:pt x="22" y="124"/>
                      </a:lnTo>
                      <a:lnTo>
                        <a:pt x="22" y="124"/>
                      </a:lnTo>
                      <a:close/>
                      <a:moveTo>
                        <a:pt x="371" y="74"/>
                      </a:moveTo>
                      <a:lnTo>
                        <a:pt x="371" y="74"/>
                      </a:lnTo>
                      <a:cubicBezTo>
                        <a:pt x="359" y="23"/>
                        <a:pt x="267" y="0"/>
                        <a:pt x="186" y="0"/>
                      </a:cubicBezTo>
                      <a:cubicBezTo>
                        <a:pt x="106" y="0"/>
                        <a:pt x="13" y="23"/>
                        <a:pt x="2" y="74"/>
                      </a:cubicBezTo>
                      <a:cubicBezTo>
                        <a:pt x="1" y="76"/>
                        <a:pt x="0" y="78"/>
                        <a:pt x="0" y="80"/>
                      </a:cubicBezTo>
                      <a:lnTo>
                        <a:pt x="0" y="394"/>
                      </a:lnTo>
                      <a:cubicBezTo>
                        <a:pt x="0" y="396"/>
                        <a:pt x="1" y="398"/>
                        <a:pt x="1" y="399"/>
                      </a:cubicBezTo>
                      <a:cubicBezTo>
                        <a:pt x="10" y="442"/>
                        <a:pt x="88" y="474"/>
                        <a:pt x="186" y="474"/>
                      </a:cubicBezTo>
                      <a:cubicBezTo>
                        <a:pt x="284" y="474"/>
                        <a:pt x="362" y="443"/>
                        <a:pt x="371" y="399"/>
                      </a:cubicBezTo>
                      <a:cubicBezTo>
                        <a:pt x="372" y="398"/>
                        <a:pt x="372" y="396"/>
                        <a:pt x="372" y="394"/>
                      </a:cubicBezTo>
                      <a:lnTo>
                        <a:pt x="372" y="80"/>
                      </a:lnTo>
                      <a:cubicBezTo>
                        <a:pt x="372" y="78"/>
                        <a:pt x="372" y="76"/>
                        <a:pt x="371" y="74"/>
                      </a:cubicBezTo>
                      <a:close/>
                    </a:path>
                  </a:pathLst>
                </a:custGeom>
                <a:solidFill>
                  <a:srgbClr val="012169"/>
                </a:solidFill>
                <a:ln w="0">
                  <a:solidFill>
                    <a:srgbClr val="01216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cs-CZ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mc:AlternateContent xmlns:mc="http://schemas.openxmlformats.org/markup-compatibility/2006" xmlns:p14="http://schemas.microsoft.com/office/powerpoint/2010/main">
              <mc:Choice Requires="p14">
                <p:contentPart p14:bwMode="auto" r:id="rId3">
                  <p14:nvContentPartPr>
                    <p14:cNvPr id="299" name="Ink 298">
                      <a:extLst>
                        <a:ext uri="{FF2B5EF4-FFF2-40B4-BE49-F238E27FC236}">
                          <a16:creationId xmlns:a16="http://schemas.microsoft.com/office/drawing/2014/main" id="{4E68CB1D-AB76-A513-C5A9-92FE400CF866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0034444" y="4162579"/>
                    <a:ext cx="347" cy="360"/>
                  </p14:xfrm>
                </p:contentPart>
              </mc:Choice>
              <mc:Fallback xmlns="">
                <p:pic>
                  <p:nvPicPr>
                    <p:cNvPr id="238" name="Ink 237"/>
                    <p:cNvPicPr/>
                    <p:nvPr/>
                  </p:nvPicPr>
                  <p:blipFill>
                    <a:blip r:embed="rId11"/>
                    <a:stretch>
                      <a:fillRect/>
                    </a:stretch>
                  </p:blipFill>
                  <p:spPr>
                    <a:xfrm>
                      <a:off x="10028198" y="4156099"/>
                      <a:ext cx="12839" cy="13320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</p:grpSp>
        <p:sp>
          <p:nvSpPr>
            <p:cNvPr id="294" name="Freeform 683">
              <a:extLst>
                <a:ext uri="{FF2B5EF4-FFF2-40B4-BE49-F238E27FC236}">
                  <a16:creationId xmlns:a16="http://schemas.microsoft.com/office/drawing/2014/main" id="{AB905DEA-568D-AF23-F485-182C616C4C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62256" y="1170650"/>
              <a:ext cx="236492" cy="218161"/>
            </a:xfrm>
            <a:custGeom>
              <a:avLst/>
              <a:gdLst>
                <a:gd name="T0" fmla="*/ 94 w 234"/>
                <a:gd name="T1" fmla="*/ 170 h 312"/>
                <a:gd name="T2" fmla="*/ 85 w 234"/>
                <a:gd name="T3" fmla="*/ 176 h 312"/>
                <a:gd name="T4" fmla="*/ 80 w 234"/>
                <a:gd name="T5" fmla="*/ 174 h 312"/>
                <a:gd name="T6" fmla="*/ 42 w 234"/>
                <a:gd name="T7" fmla="*/ 110 h 312"/>
                <a:gd name="T8" fmla="*/ 80 w 234"/>
                <a:gd name="T9" fmla="*/ 45 h 312"/>
                <a:gd name="T10" fmla="*/ 94 w 234"/>
                <a:gd name="T11" fmla="*/ 49 h 312"/>
                <a:gd name="T12" fmla="*/ 90 w 234"/>
                <a:gd name="T13" fmla="*/ 63 h 312"/>
                <a:gd name="T14" fmla="*/ 64 w 234"/>
                <a:gd name="T15" fmla="*/ 110 h 312"/>
                <a:gd name="T16" fmla="*/ 90 w 234"/>
                <a:gd name="T17" fmla="*/ 156 h 312"/>
                <a:gd name="T18" fmla="*/ 94 w 234"/>
                <a:gd name="T19" fmla="*/ 170 h 312"/>
                <a:gd name="T20" fmla="*/ 79 w 234"/>
                <a:gd name="T21" fmla="*/ 198 h 312"/>
                <a:gd name="T22" fmla="*/ 21 w 234"/>
                <a:gd name="T23" fmla="*/ 110 h 312"/>
                <a:gd name="T24" fmla="*/ 79 w 234"/>
                <a:gd name="T25" fmla="*/ 22 h 312"/>
                <a:gd name="T26" fmla="*/ 84 w 234"/>
                <a:gd name="T27" fmla="*/ 8 h 312"/>
                <a:gd name="T28" fmla="*/ 70 w 234"/>
                <a:gd name="T29" fmla="*/ 2 h 312"/>
                <a:gd name="T30" fmla="*/ 0 w 234"/>
                <a:gd name="T31" fmla="*/ 110 h 312"/>
                <a:gd name="T32" fmla="*/ 70 w 234"/>
                <a:gd name="T33" fmla="*/ 217 h 312"/>
                <a:gd name="T34" fmla="*/ 74 w 234"/>
                <a:gd name="T35" fmla="*/ 218 h 312"/>
                <a:gd name="T36" fmla="*/ 84 w 234"/>
                <a:gd name="T37" fmla="*/ 212 h 312"/>
                <a:gd name="T38" fmla="*/ 79 w 234"/>
                <a:gd name="T39" fmla="*/ 198 h 312"/>
                <a:gd name="T40" fmla="*/ 128 w 234"/>
                <a:gd name="T41" fmla="*/ 140 h 312"/>
                <a:gd name="T42" fmla="*/ 128 w 234"/>
                <a:gd name="T43" fmla="*/ 302 h 312"/>
                <a:gd name="T44" fmla="*/ 117 w 234"/>
                <a:gd name="T45" fmla="*/ 312 h 312"/>
                <a:gd name="T46" fmla="*/ 106 w 234"/>
                <a:gd name="T47" fmla="*/ 302 h 312"/>
                <a:gd name="T48" fmla="*/ 106 w 234"/>
                <a:gd name="T49" fmla="*/ 140 h 312"/>
                <a:gd name="T50" fmla="*/ 85 w 234"/>
                <a:gd name="T51" fmla="*/ 110 h 312"/>
                <a:gd name="T52" fmla="*/ 117 w 234"/>
                <a:gd name="T53" fmla="*/ 78 h 312"/>
                <a:gd name="T54" fmla="*/ 149 w 234"/>
                <a:gd name="T55" fmla="*/ 110 h 312"/>
                <a:gd name="T56" fmla="*/ 128 w 234"/>
                <a:gd name="T57" fmla="*/ 140 h 312"/>
                <a:gd name="T58" fmla="*/ 106 w 234"/>
                <a:gd name="T59" fmla="*/ 110 h 312"/>
                <a:gd name="T60" fmla="*/ 117 w 234"/>
                <a:gd name="T61" fmla="*/ 120 h 312"/>
                <a:gd name="T62" fmla="*/ 128 w 234"/>
                <a:gd name="T63" fmla="*/ 110 h 312"/>
                <a:gd name="T64" fmla="*/ 117 w 234"/>
                <a:gd name="T65" fmla="*/ 99 h 312"/>
                <a:gd name="T66" fmla="*/ 106 w 234"/>
                <a:gd name="T67" fmla="*/ 110 h 312"/>
                <a:gd name="T68" fmla="*/ 192 w 234"/>
                <a:gd name="T69" fmla="*/ 110 h 312"/>
                <a:gd name="T70" fmla="*/ 154 w 234"/>
                <a:gd name="T71" fmla="*/ 45 h 312"/>
                <a:gd name="T72" fmla="*/ 140 w 234"/>
                <a:gd name="T73" fmla="*/ 49 h 312"/>
                <a:gd name="T74" fmla="*/ 144 w 234"/>
                <a:gd name="T75" fmla="*/ 63 h 312"/>
                <a:gd name="T76" fmla="*/ 170 w 234"/>
                <a:gd name="T77" fmla="*/ 110 h 312"/>
                <a:gd name="T78" fmla="*/ 144 w 234"/>
                <a:gd name="T79" fmla="*/ 156 h 312"/>
                <a:gd name="T80" fmla="*/ 140 w 234"/>
                <a:gd name="T81" fmla="*/ 170 h 312"/>
                <a:gd name="T82" fmla="*/ 149 w 234"/>
                <a:gd name="T83" fmla="*/ 176 h 312"/>
                <a:gd name="T84" fmla="*/ 154 w 234"/>
                <a:gd name="T85" fmla="*/ 174 h 312"/>
                <a:gd name="T86" fmla="*/ 192 w 234"/>
                <a:gd name="T87" fmla="*/ 110 h 312"/>
                <a:gd name="T88" fmla="*/ 164 w 234"/>
                <a:gd name="T89" fmla="*/ 2 h 312"/>
                <a:gd name="T90" fmla="*/ 150 w 234"/>
                <a:gd name="T91" fmla="*/ 8 h 312"/>
                <a:gd name="T92" fmla="*/ 155 w 234"/>
                <a:gd name="T93" fmla="*/ 22 h 312"/>
                <a:gd name="T94" fmla="*/ 213 w 234"/>
                <a:gd name="T95" fmla="*/ 110 h 312"/>
                <a:gd name="T96" fmla="*/ 155 w 234"/>
                <a:gd name="T97" fmla="*/ 198 h 312"/>
                <a:gd name="T98" fmla="*/ 150 w 234"/>
                <a:gd name="T99" fmla="*/ 212 h 312"/>
                <a:gd name="T100" fmla="*/ 160 w 234"/>
                <a:gd name="T101" fmla="*/ 218 h 312"/>
                <a:gd name="T102" fmla="*/ 164 w 234"/>
                <a:gd name="T103" fmla="*/ 217 h 312"/>
                <a:gd name="T104" fmla="*/ 234 w 234"/>
                <a:gd name="T105" fmla="*/ 110 h 312"/>
                <a:gd name="T106" fmla="*/ 164 w 234"/>
                <a:gd name="T107" fmla="*/ 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4" h="312">
                  <a:moveTo>
                    <a:pt x="94" y="170"/>
                  </a:moveTo>
                  <a:cubicBezTo>
                    <a:pt x="92" y="174"/>
                    <a:pt x="89" y="176"/>
                    <a:pt x="85" y="176"/>
                  </a:cubicBezTo>
                  <a:cubicBezTo>
                    <a:pt x="83" y="176"/>
                    <a:pt x="81" y="175"/>
                    <a:pt x="80" y="174"/>
                  </a:cubicBezTo>
                  <a:cubicBezTo>
                    <a:pt x="57" y="161"/>
                    <a:pt x="42" y="136"/>
                    <a:pt x="42" y="110"/>
                  </a:cubicBezTo>
                  <a:cubicBezTo>
                    <a:pt x="42" y="83"/>
                    <a:pt x="57" y="58"/>
                    <a:pt x="80" y="45"/>
                  </a:cubicBezTo>
                  <a:cubicBezTo>
                    <a:pt x="85" y="42"/>
                    <a:pt x="91" y="44"/>
                    <a:pt x="94" y="49"/>
                  </a:cubicBezTo>
                  <a:cubicBezTo>
                    <a:pt x="97" y="54"/>
                    <a:pt x="95" y="61"/>
                    <a:pt x="90" y="63"/>
                  </a:cubicBezTo>
                  <a:cubicBezTo>
                    <a:pt x="74" y="73"/>
                    <a:pt x="64" y="91"/>
                    <a:pt x="64" y="110"/>
                  </a:cubicBezTo>
                  <a:cubicBezTo>
                    <a:pt x="64" y="129"/>
                    <a:pt x="74" y="146"/>
                    <a:pt x="90" y="156"/>
                  </a:cubicBezTo>
                  <a:cubicBezTo>
                    <a:pt x="95" y="159"/>
                    <a:pt x="97" y="165"/>
                    <a:pt x="94" y="170"/>
                  </a:cubicBezTo>
                  <a:close/>
                  <a:moveTo>
                    <a:pt x="79" y="198"/>
                  </a:moveTo>
                  <a:cubicBezTo>
                    <a:pt x="44" y="182"/>
                    <a:pt x="21" y="148"/>
                    <a:pt x="21" y="110"/>
                  </a:cubicBezTo>
                  <a:cubicBezTo>
                    <a:pt x="21" y="71"/>
                    <a:pt x="44" y="37"/>
                    <a:pt x="79" y="22"/>
                  </a:cubicBezTo>
                  <a:cubicBezTo>
                    <a:pt x="84" y="19"/>
                    <a:pt x="86" y="13"/>
                    <a:pt x="84" y="8"/>
                  </a:cubicBezTo>
                  <a:cubicBezTo>
                    <a:pt x="82" y="2"/>
                    <a:pt x="75" y="0"/>
                    <a:pt x="70" y="2"/>
                  </a:cubicBezTo>
                  <a:cubicBezTo>
                    <a:pt x="27" y="21"/>
                    <a:pt x="0" y="63"/>
                    <a:pt x="0" y="110"/>
                  </a:cubicBezTo>
                  <a:cubicBezTo>
                    <a:pt x="0" y="156"/>
                    <a:pt x="27" y="199"/>
                    <a:pt x="70" y="217"/>
                  </a:cubicBezTo>
                  <a:cubicBezTo>
                    <a:pt x="71" y="218"/>
                    <a:pt x="73" y="218"/>
                    <a:pt x="74" y="218"/>
                  </a:cubicBezTo>
                  <a:cubicBezTo>
                    <a:pt x="78" y="218"/>
                    <a:pt x="82" y="216"/>
                    <a:pt x="84" y="212"/>
                  </a:cubicBezTo>
                  <a:cubicBezTo>
                    <a:pt x="86" y="206"/>
                    <a:pt x="84" y="200"/>
                    <a:pt x="79" y="198"/>
                  </a:cubicBezTo>
                  <a:close/>
                  <a:moveTo>
                    <a:pt x="128" y="140"/>
                  </a:moveTo>
                  <a:cubicBezTo>
                    <a:pt x="128" y="302"/>
                    <a:pt x="128" y="302"/>
                    <a:pt x="128" y="302"/>
                  </a:cubicBezTo>
                  <a:cubicBezTo>
                    <a:pt x="128" y="308"/>
                    <a:pt x="123" y="312"/>
                    <a:pt x="117" y="312"/>
                  </a:cubicBezTo>
                  <a:cubicBezTo>
                    <a:pt x="111" y="312"/>
                    <a:pt x="106" y="308"/>
                    <a:pt x="106" y="302"/>
                  </a:cubicBezTo>
                  <a:cubicBezTo>
                    <a:pt x="106" y="140"/>
                    <a:pt x="106" y="140"/>
                    <a:pt x="106" y="140"/>
                  </a:cubicBezTo>
                  <a:cubicBezTo>
                    <a:pt x="94" y="135"/>
                    <a:pt x="85" y="124"/>
                    <a:pt x="85" y="110"/>
                  </a:cubicBezTo>
                  <a:cubicBezTo>
                    <a:pt x="85" y="92"/>
                    <a:pt x="99" y="78"/>
                    <a:pt x="117" y="78"/>
                  </a:cubicBezTo>
                  <a:cubicBezTo>
                    <a:pt x="135" y="78"/>
                    <a:pt x="149" y="92"/>
                    <a:pt x="149" y="110"/>
                  </a:cubicBezTo>
                  <a:cubicBezTo>
                    <a:pt x="149" y="124"/>
                    <a:pt x="140" y="135"/>
                    <a:pt x="128" y="140"/>
                  </a:cubicBezTo>
                  <a:close/>
                  <a:moveTo>
                    <a:pt x="106" y="110"/>
                  </a:moveTo>
                  <a:cubicBezTo>
                    <a:pt x="106" y="116"/>
                    <a:pt x="111" y="120"/>
                    <a:pt x="117" y="120"/>
                  </a:cubicBezTo>
                  <a:cubicBezTo>
                    <a:pt x="123" y="120"/>
                    <a:pt x="128" y="116"/>
                    <a:pt x="128" y="110"/>
                  </a:cubicBezTo>
                  <a:cubicBezTo>
                    <a:pt x="128" y="104"/>
                    <a:pt x="123" y="99"/>
                    <a:pt x="117" y="99"/>
                  </a:cubicBezTo>
                  <a:cubicBezTo>
                    <a:pt x="111" y="99"/>
                    <a:pt x="106" y="104"/>
                    <a:pt x="106" y="110"/>
                  </a:cubicBezTo>
                  <a:close/>
                  <a:moveTo>
                    <a:pt x="192" y="110"/>
                  </a:moveTo>
                  <a:cubicBezTo>
                    <a:pt x="192" y="83"/>
                    <a:pt x="177" y="58"/>
                    <a:pt x="154" y="45"/>
                  </a:cubicBezTo>
                  <a:cubicBezTo>
                    <a:pt x="149" y="42"/>
                    <a:pt x="143" y="44"/>
                    <a:pt x="140" y="49"/>
                  </a:cubicBezTo>
                  <a:cubicBezTo>
                    <a:pt x="137" y="54"/>
                    <a:pt x="139" y="61"/>
                    <a:pt x="144" y="63"/>
                  </a:cubicBezTo>
                  <a:cubicBezTo>
                    <a:pt x="160" y="73"/>
                    <a:pt x="170" y="91"/>
                    <a:pt x="170" y="110"/>
                  </a:cubicBezTo>
                  <a:cubicBezTo>
                    <a:pt x="170" y="129"/>
                    <a:pt x="160" y="146"/>
                    <a:pt x="144" y="156"/>
                  </a:cubicBezTo>
                  <a:cubicBezTo>
                    <a:pt x="139" y="159"/>
                    <a:pt x="137" y="165"/>
                    <a:pt x="140" y="170"/>
                  </a:cubicBezTo>
                  <a:cubicBezTo>
                    <a:pt x="142" y="174"/>
                    <a:pt x="145" y="176"/>
                    <a:pt x="149" y="176"/>
                  </a:cubicBezTo>
                  <a:cubicBezTo>
                    <a:pt x="151" y="176"/>
                    <a:pt x="153" y="175"/>
                    <a:pt x="154" y="174"/>
                  </a:cubicBezTo>
                  <a:cubicBezTo>
                    <a:pt x="177" y="161"/>
                    <a:pt x="192" y="136"/>
                    <a:pt x="192" y="110"/>
                  </a:cubicBezTo>
                  <a:close/>
                  <a:moveTo>
                    <a:pt x="164" y="2"/>
                  </a:moveTo>
                  <a:cubicBezTo>
                    <a:pt x="159" y="0"/>
                    <a:pt x="152" y="2"/>
                    <a:pt x="150" y="8"/>
                  </a:cubicBezTo>
                  <a:cubicBezTo>
                    <a:pt x="148" y="13"/>
                    <a:pt x="150" y="19"/>
                    <a:pt x="155" y="22"/>
                  </a:cubicBezTo>
                  <a:cubicBezTo>
                    <a:pt x="190" y="37"/>
                    <a:pt x="213" y="71"/>
                    <a:pt x="213" y="110"/>
                  </a:cubicBezTo>
                  <a:cubicBezTo>
                    <a:pt x="213" y="148"/>
                    <a:pt x="190" y="182"/>
                    <a:pt x="155" y="198"/>
                  </a:cubicBezTo>
                  <a:cubicBezTo>
                    <a:pt x="150" y="200"/>
                    <a:pt x="148" y="206"/>
                    <a:pt x="150" y="212"/>
                  </a:cubicBezTo>
                  <a:cubicBezTo>
                    <a:pt x="152" y="216"/>
                    <a:pt x="156" y="218"/>
                    <a:pt x="160" y="218"/>
                  </a:cubicBezTo>
                  <a:cubicBezTo>
                    <a:pt x="161" y="218"/>
                    <a:pt x="163" y="218"/>
                    <a:pt x="164" y="217"/>
                  </a:cubicBezTo>
                  <a:cubicBezTo>
                    <a:pt x="207" y="199"/>
                    <a:pt x="234" y="156"/>
                    <a:pt x="234" y="110"/>
                  </a:cubicBezTo>
                  <a:cubicBezTo>
                    <a:pt x="234" y="63"/>
                    <a:pt x="207" y="21"/>
                    <a:pt x="16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300" name="Freeform 350">
            <a:extLst>
              <a:ext uri="{FF2B5EF4-FFF2-40B4-BE49-F238E27FC236}">
                <a16:creationId xmlns:a16="http://schemas.microsoft.com/office/drawing/2014/main" id="{87CAE1E5-6191-93A1-A6F4-BFE7FD2195FA}"/>
              </a:ext>
            </a:extLst>
          </p:cNvPr>
          <p:cNvSpPr>
            <a:spLocks noEditPoints="1"/>
          </p:cNvSpPr>
          <p:nvPr/>
        </p:nvSpPr>
        <p:spPr bwMode="auto">
          <a:xfrm>
            <a:off x="2012657" y="1598172"/>
            <a:ext cx="183816" cy="229229"/>
          </a:xfrm>
          <a:custGeom>
            <a:avLst/>
            <a:gdLst>
              <a:gd name="T0" fmla="*/ 160 w 256"/>
              <a:gd name="T1" fmla="*/ 85 h 320"/>
              <a:gd name="T2" fmla="*/ 10 w 256"/>
              <a:gd name="T3" fmla="*/ 85 h 320"/>
              <a:gd name="T4" fmla="*/ 0 w 256"/>
              <a:gd name="T5" fmla="*/ 96 h 320"/>
              <a:gd name="T6" fmla="*/ 0 w 256"/>
              <a:gd name="T7" fmla="*/ 309 h 320"/>
              <a:gd name="T8" fmla="*/ 10 w 256"/>
              <a:gd name="T9" fmla="*/ 320 h 320"/>
              <a:gd name="T10" fmla="*/ 160 w 256"/>
              <a:gd name="T11" fmla="*/ 320 h 320"/>
              <a:gd name="T12" fmla="*/ 170 w 256"/>
              <a:gd name="T13" fmla="*/ 309 h 320"/>
              <a:gd name="T14" fmla="*/ 170 w 256"/>
              <a:gd name="T15" fmla="*/ 96 h 320"/>
              <a:gd name="T16" fmla="*/ 160 w 256"/>
              <a:gd name="T17" fmla="*/ 85 h 320"/>
              <a:gd name="T18" fmla="*/ 149 w 256"/>
              <a:gd name="T19" fmla="*/ 298 h 320"/>
              <a:gd name="T20" fmla="*/ 21 w 256"/>
              <a:gd name="T21" fmla="*/ 298 h 320"/>
              <a:gd name="T22" fmla="*/ 21 w 256"/>
              <a:gd name="T23" fmla="*/ 106 h 320"/>
              <a:gd name="T24" fmla="*/ 149 w 256"/>
              <a:gd name="T25" fmla="*/ 106 h 320"/>
              <a:gd name="T26" fmla="*/ 149 w 256"/>
              <a:gd name="T27" fmla="*/ 298 h 320"/>
              <a:gd name="T28" fmla="*/ 213 w 256"/>
              <a:gd name="T29" fmla="*/ 53 h 320"/>
              <a:gd name="T30" fmla="*/ 213 w 256"/>
              <a:gd name="T31" fmla="*/ 266 h 320"/>
              <a:gd name="T32" fmla="*/ 202 w 256"/>
              <a:gd name="T33" fmla="*/ 277 h 320"/>
              <a:gd name="T34" fmla="*/ 192 w 256"/>
              <a:gd name="T35" fmla="*/ 266 h 320"/>
              <a:gd name="T36" fmla="*/ 192 w 256"/>
              <a:gd name="T37" fmla="*/ 64 h 320"/>
              <a:gd name="T38" fmla="*/ 53 w 256"/>
              <a:gd name="T39" fmla="*/ 64 h 320"/>
              <a:gd name="T40" fmla="*/ 42 w 256"/>
              <a:gd name="T41" fmla="*/ 53 h 320"/>
              <a:gd name="T42" fmla="*/ 53 w 256"/>
              <a:gd name="T43" fmla="*/ 42 h 320"/>
              <a:gd name="T44" fmla="*/ 202 w 256"/>
              <a:gd name="T45" fmla="*/ 42 h 320"/>
              <a:gd name="T46" fmla="*/ 213 w 256"/>
              <a:gd name="T47" fmla="*/ 53 h 320"/>
              <a:gd name="T48" fmla="*/ 256 w 256"/>
              <a:gd name="T49" fmla="*/ 10 h 320"/>
              <a:gd name="T50" fmla="*/ 256 w 256"/>
              <a:gd name="T51" fmla="*/ 224 h 320"/>
              <a:gd name="T52" fmla="*/ 245 w 256"/>
              <a:gd name="T53" fmla="*/ 234 h 320"/>
              <a:gd name="T54" fmla="*/ 234 w 256"/>
              <a:gd name="T55" fmla="*/ 224 h 320"/>
              <a:gd name="T56" fmla="*/ 234 w 256"/>
              <a:gd name="T57" fmla="*/ 21 h 320"/>
              <a:gd name="T58" fmla="*/ 96 w 256"/>
              <a:gd name="T59" fmla="*/ 21 h 320"/>
              <a:gd name="T60" fmla="*/ 85 w 256"/>
              <a:gd name="T61" fmla="*/ 10 h 320"/>
              <a:gd name="T62" fmla="*/ 96 w 256"/>
              <a:gd name="T63" fmla="*/ 0 h 320"/>
              <a:gd name="T64" fmla="*/ 245 w 256"/>
              <a:gd name="T65" fmla="*/ 0 h 320"/>
              <a:gd name="T66" fmla="*/ 256 w 256"/>
              <a:gd name="T67" fmla="*/ 10 h 320"/>
              <a:gd name="T68" fmla="*/ 32 w 256"/>
              <a:gd name="T69" fmla="*/ 266 h 320"/>
              <a:gd name="T70" fmla="*/ 42 w 256"/>
              <a:gd name="T71" fmla="*/ 256 h 320"/>
              <a:gd name="T72" fmla="*/ 128 w 256"/>
              <a:gd name="T73" fmla="*/ 256 h 320"/>
              <a:gd name="T74" fmla="*/ 138 w 256"/>
              <a:gd name="T75" fmla="*/ 266 h 320"/>
              <a:gd name="T76" fmla="*/ 128 w 256"/>
              <a:gd name="T77" fmla="*/ 277 h 320"/>
              <a:gd name="T78" fmla="*/ 42 w 256"/>
              <a:gd name="T79" fmla="*/ 277 h 320"/>
              <a:gd name="T80" fmla="*/ 32 w 256"/>
              <a:gd name="T81" fmla="*/ 266 h 320"/>
              <a:gd name="T82" fmla="*/ 32 w 256"/>
              <a:gd name="T83" fmla="*/ 224 h 320"/>
              <a:gd name="T84" fmla="*/ 42 w 256"/>
              <a:gd name="T85" fmla="*/ 213 h 320"/>
              <a:gd name="T86" fmla="*/ 128 w 256"/>
              <a:gd name="T87" fmla="*/ 213 h 320"/>
              <a:gd name="T88" fmla="*/ 138 w 256"/>
              <a:gd name="T89" fmla="*/ 224 h 320"/>
              <a:gd name="T90" fmla="*/ 128 w 256"/>
              <a:gd name="T91" fmla="*/ 234 h 320"/>
              <a:gd name="T92" fmla="*/ 42 w 256"/>
              <a:gd name="T93" fmla="*/ 234 h 320"/>
              <a:gd name="T94" fmla="*/ 32 w 256"/>
              <a:gd name="T95" fmla="*/ 224 h 320"/>
              <a:gd name="T96" fmla="*/ 32 w 256"/>
              <a:gd name="T97" fmla="*/ 181 h 320"/>
              <a:gd name="T98" fmla="*/ 42 w 256"/>
              <a:gd name="T99" fmla="*/ 170 h 320"/>
              <a:gd name="T100" fmla="*/ 128 w 256"/>
              <a:gd name="T101" fmla="*/ 170 h 320"/>
              <a:gd name="T102" fmla="*/ 138 w 256"/>
              <a:gd name="T103" fmla="*/ 181 h 320"/>
              <a:gd name="T104" fmla="*/ 128 w 256"/>
              <a:gd name="T105" fmla="*/ 192 h 320"/>
              <a:gd name="T106" fmla="*/ 42 w 256"/>
              <a:gd name="T107" fmla="*/ 192 h 320"/>
              <a:gd name="T108" fmla="*/ 32 w 256"/>
              <a:gd name="T109" fmla="*/ 181 h 320"/>
              <a:gd name="T110" fmla="*/ 32 w 256"/>
              <a:gd name="T111" fmla="*/ 138 h 320"/>
              <a:gd name="T112" fmla="*/ 42 w 256"/>
              <a:gd name="T113" fmla="*/ 128 h 320"/>
              <a:gd name="T114" fmla="*/ 128 w 256"/>
              <a:gd name="T115" fmla="*/ 128 h 320"/>
              <a:gd name="T116" fmla="*/ 138 w 256"/>
              <a:gd name="T117" fmla="*/ 138 h 320"/>
              <a:gd name="T118" fmla="*/ 128 w 256"/>
              <a:gd name="T119" fmla="*/ 149 h 320"/>
              <a:gd name="T120" fmla="*/ 42 w 256"/>
              <a:gd name="T121" fmla="*/ 149 h 320"/>
              <a:gd name="T122" fmla="*/ 32 w 256"/>
              <a:gd name="T123" fmla="*/ 13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56" h="320">
                <a:moveTo>
                  <a:pt x="160" y="85"/>
                </a:moveTo>
                <a:cubicBezTo>
                  <a:pt x="10" y="85"/>
                  <a:pt x="10" y="85"/>
                  <a:pt x="10" y="85"/>
                </a:cubicBezTo>
                <a:cubicBezTo>
                  <a:pt x="4" y="85"/>
                  <a:pt x="0" y="90"/>
                  <a:pt x="0" y="96"/>
                </a:cubicBezTo>
                <a:cubicBezTo>
                  <a:pt x="0" y="309"/>
                  <a:pt x="0" y="309"/>
                  <a:pt x="0" y="309"/>
                </a:cubicBezTo>
                <a:cubicBezTo>
                  <a:pt x="0" y="315"/>
                  <a:pt x="4" y="320"/>
                  <a:pt x="10" y="320"/>
                </a:cubicBezTo>
                <a:cubicBezTo>
                  <a:pt x="160" y="320"/>
                  <a:pt x="160" y="320"/>
                  <a:pt x="160" y="320"/>
                </a:cubicBezTo>
                <a:cubicBezTo>
                  <a:pt x="166" y="320"/>
                  <a:pt x="170" y="315"/>
                  <a:pt x="170" y="309"/>
                </a:cubicBezTo>
                <a:cubicBezTo>
                  <a:pt x="170" y="96"/>
                  <a:pt x="170" y="96"/>
                  <a:pt x="170" y="96"/>
                </a:cubicBezTo>
                <a:cubicBezTo>
                  <a:pt x="170" y="90"/>
                  <a:pt x="166" y="85"/>
                  <a:pt x="160" y="85"/>
                </a:cubicBezTo>
                <a:close/>
                <a:moveTo>
                  <a:pt x="149" y="298"/>
                </a:moveTo>
                <a:cubicBezTo>
                  <a:pt x="21" y="298"/>
                  <a:pt x="21" y="298"/>
                  <a:pt x="21" y="298"/>
                </a:cubicBezTo>
                <a:cubicBezTo>
                  <a:pt x="21" y="106"/>
                  <a:pt x="21" y="106"/>
                  <a:pt x="21" y="106"/>
                </a:cubicBezTo>
                <a:cubicBezTo>
                  <a:pt x="149" y="106"/>
                  <a:pt x="149" y="106"/>
                  <a:pt x="149" y="106"/>
                </a:cubicBezTo>
                <a:lnTo>
                  <a:pt x="149" y="298"/>
                </a:lnTo>
                <a:close/>
                <a:moveTo>
                  <a:pt x="213" y="53"/>
                </a:moveTo>
                <a:cubicBezTo>
                  <a:pt x="213" y="266"/>
                  <a:pt x="213" y="266"/>
                  <a:pt x="213" y="266"/>
                </a:cubicBezTo>
                <a:cubicBezTo>
                  <a:pt x="213" y="272"/>
                  <a:pt x="208" y="277"/>
                  <a:pt x="202" y="277"/>
                </a:cubicBezTo>
                <a:cubicBezTo>
                  <a:pt x="196" y="277"/>
                  <a:pt x="192" y="272"/>
                  <a:pt x="192" y="266"/>
                </a:cubicBezTo>
                <a:cubicBezTo>
                  <a:pt x="192" y="64"/>
                  <a:pt x="192" y="64"/>
                  <a:pt x="192" y="64"/>
                </a:cubicBezTo>
                <a:cubicBezTo>
                  <a:pt x="53" y="64"/>
                  <a:pt x="53" y="64"/>
                  <a:pt x="53" y="64"/>
                </a:cubicBezTo>
                <a:cubicBezTo>
                  <a:pt x="47" y="64"/>
                  <a:pt x="42" y="59"/>
                  <a:pt x="42" y="53"/>
                </a:cubicBezTo>
                <a:cubicBezTo>
                  <a:pt x="42" y="47"/>
                  <a:pt x="47" y="42"/>
                  <a:pt x="53" y="42"/>
                </a:cubicBezTo>
                <a:cubicBezTo>
                  <a:pt x="202" y="42"/>
                  <a:pt x="202" y="42"/>
                  <a:pt x="202" y="42"/>
                </a:cubicBezTo>
                <a:cubicBezTo>
                  <a:pt x="208" y="42"/>
                  <a:pt x="213" y="47"/>
                  <a:pt x="213" y="53"/>
                </a:cubicBezTo>
                <a:close/>
                <a:moveTo>
                  <a:pt x="256" y="10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56" y="230"/>
                  <a:pt x="251" y="234"/>
                  <a:pt x="245" y="234"/>
                </a:cubicBezTo>
                <a:cubicBezTo>
                  <a:pt x="239" y="234"/>
                  <a:pt x="234" y="230"/>
                  <a:pt x="234" y="224"/>
                </a:cubicBezTo>
                <a:cubicBezTo>
                  <a:pt x="234" y="21"/>
                  <a:pt x="234" y="21"/>
                  <a:pt x="234" y="21"/>
                </a:cubicBezTo>
                <a:cubicBezTo>
                  <a:pt x="96" y="21"/>
                  <a:pt x="96" y="21"/>
                  <a:pt x="96" y="21"/>
                </a:cubicBezTo>
                <a:cubicBezTo>
                  <a:pt x="90" y="21"/>
                  <a:pt x="85" y="16"/>
                  <a:pt x="85" y="10"/>
                </a:cubicBezTo>
                <a:cubicBezTo>
                  <a:pt x="85" y="4"/>
                  <a:pt x="90" y="0"/>
                  <a:pt x="96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51" y="0"/>
                  <a:pt x="256" y="4"/>
                  <a:pt x="256" y="10"/>
                </a:cubicBezTo>
                <a:close/>
                <a:moveTo>
                  <a:pt x="32" y="266"/>
                </a:moveTo>
                <a:cubicBezTo>
                  <a:pt x="32" y="260"/>
                  <a:pt x="36" y="256"/>
                  <a:pt x="42" y="256"/>
                </a:cubicBezTo>
                <a:cubicBezTo>
                  <a:pt x="128" y="256"/>
                  <a:pt x="128" y="256"/>
                  <a:pt x="128" y="256"/>
                </a:cubicBezTo>
                <a:cubicBezTo>
                  <a:pt x="134" y="256"/>
                  <a:pt x="138" y="260"/>
                  <a:pt x="138" y="266"/>
                </a:cubicBezTo>
                <a:cubicBezTo>
                  <a:pt x="138" y="272"/>
                  <a:pt x="134" y="277"/>
                  <a:pt x="128" y="277"/>
                </a:cubicBezTo>
                <a:cubicBezTo>
                  <a:pt x="42" y="277"/>
                  <a:pt x="42" y="277"/>
                  <a:pt x="42" y="277"/>
                </a:cubicBezTo>
                <a:cubicBezTo>
                  <a:pt x="36" y="277"/>
                  <a:pt x="32" y="272"/>
                  <a:pt x="32" y="266"/>
                </a:cubicBezTo>
                <a:close/>
                <a:moveTo>
                  <a:pt x="32" y="224"/>
                </a:moveTo>
                <a:cubicBezTo>
                  <a:pt x="32" y="218"/>
                  <a:pt x="36" y="213"/>
                  <a:pt x="42" y="213"/>
                </a:cubicBezTo>
                <a:cubicBezTo>
                  <a:pt x="128" y="213"/>
                  <a:pt x="128" y="213"/>
                  <a:pt x="128" y="213"/>
                </a:cubicBezTo>
                <a:cubicBezTo>
                  <a:pt x="134" y="213"/>
                  <a:pt x="138" y="218"/>
                  <a:pt x="138" y="224"/>
                </a:cubicBezTo>
                <a:cubicBezTo>
                  <a:pt x="138" y="230"/>
                  <a:pt x="134" y="234"/>
                  <a:pt x="128" y="234"/>
                </a:cubicBezTo>
                <a:cubicBezTo>
                  <a:pt x="42" y="234"/>
                  <a:pt x="42" y="234"/>
                  <a:pt x="42" y="234"/>
                </a:cubicBezTo>
                <a:cubicBezTo>
                  <a:pt x="36" y="234"/>
                  <a:pt x="32" y="230"/>
                  <a:pt x="32" y="224"/>
                </a:cubicBezTo>
                <a:close/>
                <a:moveTo>
                  <a:pt x="32" y="181"/>
                </a:moveTo>
                <a:cubicBezTo>
                  <a:pt x="32" y="175"/>
                  <a:pt x="36" y="170"/>
                  <a:pt x="42" y="170"/>
                </a:cubicBezTo>
                <a:cubicBezTo>
                  <a:pt x="128" y="170"/>
                  <a:pt x="128" y="170"/>
                  <a:pt x="128" y="170"/>
                </a:cubicBezTo>
                <a:cubicBezTo>
                  <a:pt x="134" y="170"/>
                  <a:pt x="138" y="175"/>
                  <a:pt x="138" y="181"/>
                </a:cubicBezTo>
                <a:cubicBezTo>
                  <a:pt x="138" y="187"/>
                  <a:pt x="134" y="192"/>
                  <a:pt x="128" y="192"/>
                </a:cubicBezTo>
                <a:cubicBezTo>
                  <a:pt x="42" y="192"/>
                  <a:pt x="42" y="192"/>
                  <a:pt x="42" y="192"/>
                </a:cubicBezTo>
                <a:cubicBezTo>
                  <a:pt x="36" y="192"/>
                  <a:pt x="32" y="187"/>
                  <a:pt x="32" y="181"/>
                </a:cubicBezTo>
                <a:close/>
                <a:moveTo>
                  <a:pt x="32" y="138"/>
                </a:moveTo>
                <a:cubicBezTo>
                  <a:pt x="32" y="132"/>
                  <a:pt x="36" y="128"/>
                  <a:pt x="42" y="128"/>
                </a:cubicBezTo>
                <a:cubicBezTo>
                  <a:pt x="128" y="128"/>
                  <a:pt x="128" y="128"/>
                  <a:pt x="128" y="128"/>
                </a:cubicBezTo>
                <a:cubicBezTo>
                  <a:pt x="134" y="128"/>
                  <a:pt x="138" y="132"/>
                  <a:pt x="138" y="138"/>
                </a:cubicBezTo>
                <a:cubicBezTo>
                  <a:pt x="138" y="144"/>
                  <a:pt x="134" y="149"/>
                  <a:pt x="128" y="149"/>
                </a:cubicBezTo>
                <a:cubicBezTo>
                  <a:pt x="42" y="149"/>
                  <a:pt x="42" y="149"/>
                  <a:pt x="42" y="149"/>
                </a:cubicBezTo>
                <a:cubicBezTo>
                  <a:pt x="36" y="149"/>
                  <a:pt x="32" y="144"/>
                  <a:pt x="32" y="138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01" name="Rounded Rectangle 35">
            <a:extLst>
              <a:ext uri="{FF2B5EF4-FFF2-40B4-BE49-F238E27FC236}">
                <a16:creationId xmlns:a16="http://schemas.microsoft.com/office/drawing/2014/main" id="{5906CF54-1D0B-5FA5-3D3C-D8247C7FE754}"/>
              </a:ext>
            </a:extLst>
          </p:cNvPr>
          <p:cNvSpPr/>
          <p:nvPr/>
        </p:nvSpPr>
        <p:spPr bwMode="auto">
          <a:xfrm>
            <a:off x="1770444" y="1158235"/>
            <a:ext cx="1260000" cy="396000"/>
          </a:xfrm>
          <a:prstGeom prst="roundRect">
            <a:avLst/>
          </a:prstGeom>
          <a:solidFill>
            <a:srgbClr val="86BC2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Registrační formulář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02" name="Rounded Rectangle 35">
            <a:extLst>
              <a:ext uri="{FF2B5EF4-FFF2-40B4-BE49-F238E27FC236}">
                <a16:creationId xmlns:a16="http://schemas.microsoft.com/office/drawing/2014/main" id="{72EDF045-033F-BFBA-35B2-F860F98BA664}"/>
              </a:ext>
            </a:extLst>
          </p:cNvPr>
          <p:cNvSpPr/>
          <p:nvPr/>
        </p:nvSpPr>
        <p:spPr bwMode="auto">
          <a:xfrm>
            <a:off x="1752787" y="2575252"/>
            <a:ext cx="1260000" cy="396000"/>
          </a:xfrm>
          <a:prstGeom prst="roundRect">
            <a:avLst/>
          </a:prstGeom>
          <a:solidFill>
            <a:srgbClr val="0097A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66"/>
              </a:buClr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Calibri" panose="020F0502020204030204" pitchFamily="34" charset="0"/>
              </a:rPr>
              <a:t>Zpracovatelská smlouva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303" name="Straight Arrow Connector 302">
            <a:extLst>
              <a:ext uri="{FF2B5EF4-FFF2-40B4-BE49-F238E27FC236}">
                <a16:creationId xmlns:a16="http://schemas.microsoft.com/office/drawing/2014/main" id="{4850A14E-6FA2-0164-29F7-19003FBCBA55}"/>
              </a:ext>
            </a:extLst>
          </p:cNvPr>
          <p:cNvCxnSpPr>
            <a:cxnSpLocks/>
          </p:cNvCxnSpPr>
          <p:nvPr/>
        </p:nvCxnSpPr>
        <p:spPr>
          <a:xfrm>
            <a:off x="3669941" y="2602354"/>
            <a:ext cx="0" cy="360000"/>
          </a:xfrm>
          <a:prstGeom prst="straightConnector1">
            <a:avLst/>
          </a:prstGeom>
          <a:noFill/>
          <a:ln w="3175" cap="flat" cmpd="sng" algn="ctr">
            <a:solidFill>
              <a:sysClr val="window" lastClr="FFFFFF">
                <a:lumMod val="75000"/>
              </a:sysClr>
            </a:solidFill>
            <a:prstDash val="solid"/>
            <a:tailEnd type="triangle"/>
          </a:ln>
          <a:effectLst/>
        </p:spPr>
      </p:cxnSp>
      <p:sp>
        <p:nvSpPr>
          <p:cNvPr id="304" name="Rectangle 303">
            <a:extLst>
              <a:ext uri="{FF2B5EF4-FFF2-40B4-BE49-F238E27FC236}">
                <a16:creationId xmlns:a16="http://schemas.microsoft.com/office/drawing/2014/main" id="{76EFD5C0-0ACC-4DDF-DB1E-A68612360BE0}"/>
              </a:ext>
            </a:extLst>
          </p:cNvPr>
          <p:cNvSpPr/>
          <p:nvPr/>
        </p:nvSpPr>
        <p:spPr>
          <a:xfrm>
            <a:off x="4965946" y="2761882"/>
            <a:ext cx="1524969" cy="444267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12169"/>
                </a:solidFill>
                <a:cs typeface="Calibri" panose="020F0502020204030204" pitchFamily="34" charset="0"/>
              </a:rPr>
              <a:t>Napojené subjekty</a:t>
            </a:r>
          </a:p>
        </p:txBody>
      </p: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8AFEC717-A043-941C-0B24-C5A9DB197735}"/>
              </a:ext>
            </a:extLst>
          </p:cNvPr>
          <p:cNvGrpSpPr/>
          <p:nvPr/>
        </p:nvGrpSpPr>
        <p:grpSpPr>
          <a:xfrm>
            <a:off x="3996601" y="2664100"/>
            <a:ext cx="791308" cy="604303"/>
            <a:chOff x="3764270" y="4142744"/>
            <a:chExt cx="791308" cy="604303"/>
          </a:xfrm>
          <a:solidFill>
            <a:srgbClr val="012169"/>
          </a:solidFill>
        </p:grpSpPr>
        <p:grpSp>
          <p:nvGrpSpPr>
            <p:cNvPr id="306" name="Group 305">
              <a:extLst>
                <a:ext uri="{FF2B5EF4-FFF2-40B4-BE49-F238E27FC236}">
                  <a16:creationId xmlns:a16="http://schemas.microsoft.com/office/drawing/2014/main" id="{98B0FFBD-F7F0-44B9-5D21-324BC79F0D48}"/>
                </a:ext>
              </a:extLst>
            </p:cNvPr>
            <p:cNvGrpSpPr/>
            <p:nvPr/>
          </p:nvGrpSpPr>
          <p:grpSpPr>
            <a:xfrm>
              <a:off x="4055241" y="4383721"/>
              <a:ext cx="324000" cy="360000"/>
              <a:chOff x="4494098" y="6217765"/>
              <a:chExt cx="549861" cy="682181"/>
            </a:xfrm>
            <a:grpFill/>
          </p:grpSpPr>
          <p:grpSp>
            <p:nvGrpSpPr>
              <p:cNvPr id="310" name="Group 210">
                <a:extLst>
                  <a:ext uri="{FF2B5EF4-FFF2-40B4-BE49-F238E27FC236}">
                    <a16:creationId xmlns:a16="http://schemas.microsoft.com/office/drawing/2014/main" id="{6B75387D-84E3-B438-64B7-6CD6EABABF7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494098" y="6575946"/>
                <a:ext cx="379722" cy="324000"/>
                <a:chOff x="2004" y="804"/>
                <a:chExt cx="184" cy="157"/>
              </a:xfrm>
              <a:grpFill/>
            </p:grpSpPr>
            <p:sp>
              <p:nvSpPr>
                <p:cNvPr id="312" name="Freeform 212">
                  <a:extLst>
                    <a:ext uri="{FF2B5EF4-FFF2-40B4-BE49-F238E27FC236}">
                      <a16:creationId xmlns:a16="http://schemas.microsoft.com/office/drawing/2014/main" id="{1A64E812-7CEC-983E-966E-62F9A8AFF79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04" y="890"/>
                  <a:ext cx="184" cy="71"/>
                </a:xfrm>
                <a:custGeom>
                  <a:avLst/>
                  <a:gdLst>
                    <a:gd name="T0" fmla="*/ 245 w 277"/>
                    <a:gd name="T1" fmla="*/ 107 h 107"/>
                    <a:gd name="T2" fmla="*/ 32 w 277"/>
                    <a:gd name="T3" fmla="*/ 107 h 107"/>
                    <a:gd name="T4" fmla="*/ 0 w 277"/>
                    <a:gd name="T5" fmla="*/ 75 h 107"/>
                    <a:gd name="T6" fmla="*/ 0 w 277"/>
                    <a:gd name="T7" fmla="*/ 33 h 107"/>
                    <a:gd name="T8" fmla="*/ 32 w 277"/>
                    <a:gd name="T9" fmla="*/ 0 h 107"/>
                    <a:gd name="T10" fmla="*/ 245 w 277"/>
                    <a:gd name="T11" fmla="*/ 0 h 107"/>
                    <a:gd name="T12" fmla="*/ 277 w 277"/>
                    <a:gd name="T13" fmla="*/ 33 h 107"/>
                    <a:gd name="T14" fmla="*/ 277 w 277"/>
                    <a:gd name="T15" fmla="*/ 75 h 107"/>
                    <a:gd name="T16" fmla="*/ 245 w 277"/>
                    <a:gd name="T17" fmla="*/ 107 h 107"/>
                    <a:gd name="T18" fmla="*/ 32 w 277"/>
                    <a:gd name="T19" fmla="*/ 22 h 107"/>
                    <a:gd name="T20" fmla="*/ 21 w 277"/>
                    <a:gd name="T21" fmla="*/ 33 h 107"/>
                    <a:gd name="T22" fmla="*/ 21 w 277"/>
                    <a:gd name="T23" fmla="*/ 75 h 107"/>
                    <a:gd name="T24" fmla="*/ 32 w 277"/>
                    <a:gd name="T25" fmla="*/ 86 h 107"/>
                    <a:gd name="T26" fmla="*/ 245 w 277"/>
                    <a:gd name="T27" fmla="*/ 86 h 107"/>
                    <a:gd name="T28" fmla="*/ 256 w 277"/>
                    <a:gd name="T29" fmla="*/ 75 h 107"/>
                    <a:gd name="T30" fmla="*/ 256 w 277"/>
                    <a:gd name="T31" fmla="*/ 33 h 107"/>
                    <a:gd name="T32" fmla="*/ 245 w 277"/>
                    <a:gd name="T33" fmla="*/ 22 h 107"/>
                    <a:gd name="T34" fmla="*/ 32 w 277"/>
                    <a:gd name="T35" fmla="*/ 22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77" h="107">
                      <a:moveTo>
                        <a:pt x="245" y="107"/>
                      </a:moveTo>
                      <a:cubicBezTo>
                        <a:pt x="32" y="107"/>
                        <a:pt x="32" y="107"/>
                        <a:pt x="32" y="107"/>
                      </a:cubicBezTo>
                      <a:cubicBezTo>
                        <a:pt x="14" y="107"/>
                        <a:pt x="0" y="93"/>
                        <a:pt x="0" y="75"/>
                      </a:cubicBez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15"/>
                        <a:pt x="14" y="0"/>
                        <a:pt x="32" y="0"/>
                      </a:cubicBezTo>
                      <a:cubicBezTo>
                        <a:pt x="245" y="0"/>
                        <a:pt x="245" y="0"/>
                        <a:pt x="245" y="0"/>
                      </a:cubicBezTo>
                      <a:cubicBezTo>
                        <a:pt x="263" y="0"/>
                        <a:pt x="277" y="15"/>
                        <a:pt x="277" y="33"/>
                      </a:cubicBezTo>
                      <a:cubicBezTo>
                        <a:pt x="277" y="75"/>
                        <a:pt x="277" y="75"/>
                        <a:pt x="277" y="75"/>
                      </a:cubicBezTo>
                      <a:cubicBezTo>
                        <a:pt x="277" y="93"/>
                        <a:pt x="263" y="107"/>
                        <a:pt x="245" y="107"/>
                      </a:cubicBezTo>
                      <a:close/>
                      <a:moveTo>
                        <a:pt x="32" y="22"/>
                      </a:moveTo>
                      <a:cubicBezTo>
                        <a:pt x="26" y="22"/>
                        <a:pt x="21" y="27"/>
                        <a:pt x="21" y="33"/>
                      </a:cubicBezTo>
                      <a:cubicBezTo>
                        <a:pt x="21" y="75"/>
                        <a:pt x="21" y="75"/>
                        <a:pt x="21" y="75"/>
                      </a:cubicBezTo>
                      <a:cubicBezTo>
                        <a:pt x="21" y="81"/>
                        <a:pt x="26" y="86"/>
                        <a:pt x="32" y="86"/>
                      </a:cubicBezTo>
                      <a:cubicBezTo>
                        <a:pt x="245" y="86"/>
                        <a:pt x="245" y="86"/>
                        <a:pt x="245" y="86"/>
                      </a:cubicBezTo>
                      <a:cubicBezTo>
                        <a:pt x="251" y="86"/>
                        <a:pt x="256" y="81"/>
                        <a:pt x="256" y="75"/>
                      </a:cubicBezTo>
                      <a:cubicBezTo>
                        <a:pt x="256" y="33"/>
                        <a:pt x="256" y="33"/>
                        <a:pt x="256" y="33"/>
                      </a:cubicBezTo>
                      <a:cubicBezTo>
                        <a:pt x="256" y="27"/>
                        <a:pt x="251" y="22"/>
                        <a:pt x="245" y="22"/>
                      </a:cubicBezTo>
                      <a:lnTo>
                        <a:pt x="32" y="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3" name="Freeform 213">
                  <a:extLst>
                    <a:ext uri="{FF2B5EF4-FFF2-40B4-BE49-F238E27FC236}">
                      <a16:creationId xmlns:a16="http://schemas.microsoft.com/office/drawing/2014/main" id="{8E7860BB-DE44-5382-7D77-E8A8D2F4E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4" y="804"/>
                  <a:ext cx="43" cy="114"/>
                </a:xfrm>
                <a:custGeom>
                  <a:avLst/>
                  <a:gdLst>
                    <a:gd name="T0" fmla="*/ 11 w 65"/>
                    <a:gd name="T1" fmla="*/ 172 h 172"/>
                    <a:gd name="T2" fmla="*/ 0 w 65"/>
                    <a:gd name="T3" fmla="*/ 161 h 172"/>
                    <a:gd name="T4" fmla="*/ 0 w 65"/>
                    <a:gd name="T5" fmla="*/ 140 h 172"/>
                    <a:gd name="T6" fmla="*/ 1 w 65"/>
                    <a:gd name="T7" fmla="*/ 137 h 172"/>
                    <a:gd name="T8" fmla="*/ 43 w 65"/>
                    <a:gd name="T9" fmla="*/ 9 h 172"/>
                    <a:gd name="T10" fmla="*/ 57 w 65"/>
                    <a:gd name="T11" fmla="*/ 2 h 172"/>
                    <a:gd name="T12" fmla="*/ 63 w 65"/>
                    <a:gd name="T13" fmla="*/ 15 h 172"/>
                    <a:gd name="T14" fmla="*/ 21 w 65"/>
                    <a:gd name="T15" fmla="*/ 142 h 172"/>
                    <a:gd name="T16" fmla="*/ 21 w 65"/>
                    <a:gd name="T17" fmla="*/ 161 h 172"/>
                    <a:gd name="T18" fmla="*/ 11 w 65"/>
                    <a:gd name="T19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172">
                      <a:moveTo>
                        <a:pt x="11" y="172"/>
                      </a:moveTo>
                      <a:cubicBezTo>
                        <a:pt x="5" y="172"/>
                        <a:pt x="0" y="167"/>
                        <a:pt x="0" y="161"/>
                      </a:cubicBezTo>
                      <a:cubicBezTo>
                        <a:pt x="0" y="140"/>
                        <a:pt x="0" y="140"/>
                        <a:pt x="0" y="140"/>
                      </a:cubicBezTo>
                      <a:cubicBezTo>
                        <a:pt x="0" y="139"/>
                        <a:pt x="0" y="138"/>
                        <a:pt x="1" y="137"/>
                      </a:cubicBezTo>
                      <a:cubicBezTo>
                        <a:pt x="43" y="9"/>
                        <a:pt x="43" y="9"/>
                        <a:pt x="43" y="9"/>
                      </a:cubicBezTo>
                      <a:cubicBezTo>
                        <a:pt x="45" y="3"/>
                        <a:pt x="51" y="0"/>
                        <a:pt x="57" y="2"/>
                      </a:cubicBezTo>
                      <a:cubicBezTo>
                        <a:pt x="62" y="4"/>
                        <a:pt x="65" y="10"/>
                        <a:pt x="63" y="15"/>
                      </a:cubicBezTo>
                      <a:cubicBezTo>
                        <a:pt x="21" y="142"/>
                        <a:pt x="21" y="142"/>
                        <a:pt x="21" y="142"/>
                      </a:cubicBezTo>
                      <a:cubicBezTo>
                        <a:pt x="21" y="161"/>
                        <a:pt x="21" y="161"/>
                        <a:pt x="21" y="161"/>
                      </a:cubicBezTo>
                      <a:cubicBezTo>
                        <a:pt x="21" y="167"/>
                        <a:pt x="17" y="172"/>
                        <a:pt x="11" y="1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4" name="Freeform 214">
                  <a:extLst>
                    <a:ext uri="{FF2B5EF4-FFF2-40B4-BE49-F238E27FC236}">
                      <a16:creationId xmlns:a16="http://schemas.microsoft.com/office/drawing/2014/main" id="{41BFAE4B-9FFA-2104-85FE-470BEE6BB3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5" y="804"/>
                  <a:ext cx="43" cy="114"/>
                </a:xfrm>
                <a:custGeom>
                  <a:avLst/>
                  <a:gdLst>
                    <a:gd name="T0" fmla="*/ 55 w 65"/>
                    <a:gd name="T1" fmla="*/ 172 h 172"/>
                    <a:gd name="T2" fmla="*/ 44 w 65"/>
                    <a:gd name="T3" fmla="*/ 161 h 172"/>
                    <a:gd name="T4" fmla="*/ 44 w 65"/>
                    <a:gd name="T5" fmla="*/ 142 h 172"/>
                    <a:gd name="T6" fmla="*/ 2 w 65"/>
                    <a:gd name="T7" fmla="*/ 15 h 172"/>
                    <a:gd name="T8" fmla="*/ 9 w 65"/>
                    <a:gd name="T9" fmla="*/ 2 h 172"/>
                    <a:gd name="T10" fmla="*/ 22 w 65"/>
                    <a:gd name="T11" fmla="*/ 9 h 172"/>
                    <a:gd name="T12" fmla="*/ 65 w 65"/>
                    <a:gd name="T13" fmla="*/ 137 h 172"/>
                    <a:gd name="T14" fmla="*/ 65 w 65"/>
                    <a:gd name="T15" fmla="*/ 140 h 172"/>
                    <a:gd name="T16" fmla="*/ 65 w 65"/>
                    <a:gd name="T17" fmla="*/ 161 h 172"/>
                    <a:gd name="T18" fmla="*/ 55 w 65"/>
                    <a:gd name="T19" fmla="*/ 172 h 1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5" h="172">
                      <a:moveTo>
                        <a:pt x="55" y="172"/>
                      </a:moveTo>
                      <a:cubicBezTo>
                        <a:pt x="49" y="172"/>
                        <a:pt x="44" y="167"/>
                        <a:pt x="44" y="161"/>
                      </a:cubicBezTo>
                      <a:cubicBezTo>
                        <a:pt x="44" y="142"/>
                        <a:pt x="44" y="142"/>
                        <a:pt x="44" y="142"/>
                      </a:cubicBezTo>
                      <a:cubicBezTo>
                        <a:pt x="2" y="15"/>
                        <a:pt x="2" y="15"/>
                        <a:pt x="2" y="15"/>
                      </a:cubicBezTo>
                      <a:cubicBezTo>
                        <a:pt x="0" y="10"/>
                        <a:pt x="3" y="4"/>
                        <a:pt x="9" y="2"/>
                      </a:cubicBezTo>
                      <a:cubicBezTo>
                        <a:pt x="14" y="0"/>
                        <a:pt x="20" y="3"/>
                        <a:pt x="22" y="9"/>
                      </a:cubicBezTo>
                      <a:cubicBezTo>
                        <a:pt x="65" y="137"/>
                        <a:pt x="65" y="137"/>
                        <a:pt x="65" y="137"/>
                      </a:cubicBezTo>
                      <a:cubicBezTo>
                        <a:pt x="65" y="138"/>
                        <a:pt x="65" y="139"/>
                        <a:pt x="65" y="140"/>
                      </a:cubicBezTo>
                      <a:cubicBezTo>
                        <a:pt x="65" y="161"/>
                        <a:pt x="65" y="161"/>
                        <a:pt x="65" y="161"/>
                      </a:cubicBezTo>
                      <a:cubicBezTo>
                        <a:pt x="65" y="167"/>
                        <a:pt x="61" y="172"/>
                        <a:pt x="55" y="17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5" name="Freeform 215">
                  <a:extLst>
                    <a:ext uri="{FF2B5EF4-FFF2-40B4-BE49-F238E27FC236}">
                      <a16:creationId xmlns:a16="http://schemas.microsoft.com/office/drawing/2014/main" id="{6E1DF540-8892-3CEA-DF03-B1145F10F4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3" y="805"/>
                  <a:ext cx="127" cy="14"/>
                </a:xfrm>
                <a:custGeom>
                  <a:avLst/>
                  <a:gdLst>
                    <a:gd name="T0" fmla="*/ 181 w 192"/>
                    <a:gd name="T1" fmla="*/ 22 h 22"/>
                    <a:gd name="T2" fmla="*/ 10 w 192"/>
                    <a:gd name="T3" fmla="*/ 22 h 22"/>
                    <a:gd name="T4" fmla="*/ 0 w 192"/>
                    <a:gd name="T5" fmla="*/ 11 h 22"/>
                    <a:gd name="T6" fmla="*/ 10 w 192"/>
                    <a:gd name="T7" fmla="*/ 0 h 22"/>
                    <a:gd name="T8" fmla="*/ 181 w 192"/>
                    <a:gd name="T9" fmla="*/ 0 h 22"/>
                    <a:gd name="T10" fmla="*/ 192 w 192"/>
                    <a:gd name="T11" fmla="*/ 11 h 22"/>
                    <a:gd name="T12" fmla="*/ 181 w 192"/>
                    <a:gd name="T13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2" h="22">
                      <a:moveTo>
                        <a:pt x="181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4" y="22"/>
                        <a:pt x="0" y="17"/>
                        <a:pt x="0" y="11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181" y="0"/>
                        <a:pt x="181" y="0"/>
                        <a:pt x="181" y="0"/>
                      </a:cubicBezTo>
                      <a:cubicBezTo>
                        <a:pt x="187" y="0"/>
                        <a:pt x="192" y="5"/>
                        <a:pt x="192" y="11"/>
                      </a:cubicBezTo>
                      <a:cubicBezTo>
                        <a:pt x="192" y="17"/>
                        <a:pt x="187" y="22"/>
                        <a:pt x="18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6" name="Freeform 216">
                  <a:extLst>
                    <a:ext uri="{FF2B5EF4-FFF2-40B4-BE49-F238E27FC236}">
                      <a16:creationId xmlns:a16="http://schemas.microsoft.com/office/drawing/2014/main" id="{E5DDB955-0EDD-376D-8A9C-576C7BCA88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6" y="918"/>
                  <a:ext cx="14" cy="14"/>
                </a:xfrm>
                <a:custGeom>
                  <a:avLst/>
                  <a:gdLst>
                    <a:gd name="T0" fmla="*/ 11 w 22"/>
                    <a:gd name="T1" fmla="*/ 22 h 22"/>
                    <a:gd name="T2" fmla="*/ 3 w 22"/>
                    <a:gd name="T3" fmla="*/ 19 h 22"/>
                    <a:gd name="T4" fmla="*/ 1 w 22"/>
                    <a:gd name="T5" fmla="*/ 16 h 22"/>
                    <a:gd name="T6" fmla="*/ 0 w 22"/>
                    <a:gd name="T7" fmla="*/ 12 h 22"/>
                    <a:gd name="T8" fmla="*/ 1 w 22"/>
                    <a:gd name="T9" fmla="*/ 8 h 22"/>
                    <a:gd name="T10" fmla="*/ 3 w 22"/>
                    <a:gd name="T11" fmla="*/ 4 h 22"/>
                    <a:gd name="T12" fmla="*/ 5 w 22"/>
                    <a:gd name="T13" fmla="*/ 3 h 22"/>
                    <a:gd name="T14" fmla="*/ 7 w 22"/>
                    <a:gd name="T15" fmla="*/ 2 h 22"/>
                    <a:gd name="T16" fmla="*/ 9 w 22"/>
                    <a:gd name="T17" fmla="*/ 1 h 22"/>
                    <a:gd name="T18" fmla="*/ 19 w 22"/>
                    <a:gd name="T19" fmla="*/ 4 h 22"/>
                    <a:gd name="T20" fmla="*/ 21 w 22"/>
                    <a:gd name="T21" fmla="*/ 8 h 22"/>
                    <a:gd name="T22" fmla="*/ 22 w 22"/>
                    <a:gd name="T23" fmla="*/ 12 h 22"/>
                    <a:gd name="T24" fmla="*/ 21 w 22"/>
                    <a:gd name="T25" fmla="*/ 16 h 22"/>
                    <a:gd name="T26" fmla="*/ 19 w 22"/>
                    <a:gd name="T27" fmla="*/ 19 h 22"/>
                    <a:gd name="T28" fmla="*/ 15 w 22"/>
                    <a:gd name="T29" fmla="*/ 21 h 22"/>
                    <a:gd name="T30" fmla="*/ 11 w 22"/>
                    <a:gd name="T31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2" h="22">
                      <a:moveTo>
                        <a:pt x="11" y="22"/>
                      </a:moveTo>
                      <a:cubicBezTo>
                        <a:pt x="8" y="22"/>
                        <a:pt x="5" y="21"/>
                        <a:pt x="3" y="19"/>
                      </a:cubicBezTo>
                      <a:cubicBezTo>
                        <a:pt x="2" y="18"/>
                        <a:pt x="2" y="17"/>
                        <a:pt x="1" y="16"/>
                      </a:cubicBezTo>
                      <a:cubicBezTo>
                        <a:pt x="1" y="14"/>
                        <a:pt x="0" y="13"/>
                        <a:pt x="0" y="12"/>
                      </a:cubicBezTo>
                      <a:cubicBezTo>
                        <a:pt x="0" y="10"/>
                        <a:pt x="1" y="9"/>
                        <a:pt x="1" y="8"/>
                      </a:cubicBezTo>
                      <a:cubicBezTo>
                        <a:pt x="2" y="6"/>
                        <a:pt x="2" y="5"/>
                        <a:pt x="3" y="4"/>
                      </a:cubicBezTo>
                      <a:cubicBezTo>
                        <a:pt x="4" y="4"/>
                        <a:pt x="4" y="3"/>
                        <a:pt x="5" y="3"/>
                      </a:cubicBezTo>
                      <a:cubicBezTo>
                        <a:pt x="6" y="2"/>
                        <a:pt x="6" y="2"/>
                        <a:pt x="7" y="2"/>
                      </a:cubicBezTo>
                      <a:cubicBezTo>
                        <a:pt x="8" y="2"/>
                        <a:pt x="8" y="1"/>
                        <a:pt x="9" y="1"/>
                      </a:cubicBezTo>
                      <a:cubicBezTo>
                        <a:pt x="12" y="0"/>
                        <a:pt x="16" y="2"/>
                        <a:pt x="19" y="4"/>
                      </a:cubicBezTo>
                      <a:cubicBezTo>
                        <a:pt x="20" y="5"/>
                        <a:pt x="20" y="6"/>
                        <a:pt x="21" y="8"/>
                      </a:cubicBezTo>
                      <a:cubicBezTo>
                        <a:pt x="21" y="9"/>
                        <a:pt x="22" y="10"/>
                        <a:pt x="22" y="12"/>
                      </a:cubicBezTo>
                      <a:cubicBezTo>
                        <a:pt x="22" y="13"/>
                        <a:pt x="21" y="14"/>
                        <a:pt x="21" y="16"/>
                      </a:cubicBezTo>
                      <a:cubicBezTo>
                        <a:pt x="20" y="17"/>
                        <a:pt x="20" y="18"/>
                        <a:pt x="19" y="19"/>
                      </a:cubicBezTo>
                      <a:cubicBezTo>
                        <a:pt x="18" y="20"/>
                        <a:pt x="16" y="21"/>
                        <a:pt x="15" y="21"/>
                      </a:cubicBezTo>
                      <a:cubicBezTo>
                        <a:pt x="14" y="22"/>
                        <a:pt x="12" y="22"/>
                        <a:pt x="11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17" name="Freeform 217">
                  <a:extLst>
                    <a:ext uri="{FF2B5EF4-FFF2-40B4-BE49-F238E27FC236}">
                      <a16:creationId xmlns:a16="http://schemas.microsoft.com/office/drawing/2014/main" id="{860C9212-CCB3-291A-5B72-CB6906F16D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8" y="918"/>
                  <a:ext cx="14" cy="14"/>
                </a:xfrm>
                <a:custGeom>
                  <a:avLst/>
                  <a:gdLst>
                    <a:gd name="T0" fmla="*/ 10 w 21"/>
                    <a:gd name="T1" fmla="*/ 22 h 22"/>
                    <a:gd name="T2" fmla="*/ 6 w 21"/>
                    <a:gd name="T3" fmla="*/ 21 h 22"/>
                    <a:gd name="T4" fmla="*/ 3 w 21"/>
                    <a:gd name="T5" fmla="*/ 19 h 22"/>
                    <a:gd name="T6" fmla="*/ 1 w 21"/>
                    <a:gd name="T7" fmla="*/ 16 h 22"/>
                    <a:gd name="T8" fmla="*/ 0 w 21"/>
                    <a:gd name="T9" fmla="*/ 12 h 22"/>
                    <a:gd name="T10" fmla="*/ 1 w 21"/>
                    <a:gd name="T11" fmla="*/ 8 h 22"/>
                    <a:gd name="T12" fmla="*/ 3 w 21"/>
                    <a:gd name="T13" fmla="*/ 4 h 22"/>
                    <a:gd name="T14" fmla="*/ 12 w 21"/>
                    <a:gd name="T15" fmla="*/ 1 h 22"/>
                    <a:gd name="T16" fmla="*/ 14 w 21"/>
                    <a:gd name="T17" fmla="*/ 2 h 22"/>
                    <a:gd name="T18" fmla="*/ 16 w 21"/>
                    <a:gd name="T19" fmla="*/ 3 h 22"/>
                    <a:gd name="T20" fmla="*/ 18 w 21"/>
                    <a:gd name="T21" fmla="*/ 4 h 22"/>
                    <a:gd name="T22" fmla="*/ 20 w 21"/>
                    <a:gd name="T23" fmla="*/ 8 h 22"/>
                    <a:gd name="T24" fmla="*/ 21 w 21"/>
                    <a:gd name="T25" fmla="*/ 12 h 22"/>
                    <a:gd name="T26" fmla="*/ 20 w 21"/>
                    <a:gd name="T27" fmla="*/ 16 h 22"/>
                    <a:gd name="T28" fmla="*/ 18 w 21"/>
                    <a:gd name="T29" fmla="*/ 19 h 22"/>
                    <a:gd name="T30" fmla="*/ 10 w 21"/>
                    <a:gd name="T31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22">
                      <a:moveTo>
                        <a:pt x="10" y="22"/>
                      </a:moveTo>
                      <a:cubicBezTo>
                        <a:pt x="9" y="22"/>
                        <a:pt x="8" y="22"/>
                        <a:pt x="6" y="21"/>
                      </a:cubicBezTo>
                      <a:cubicBezTo>
                        <a:pt x="5" y="21"/>
                        <a:pt x="4" y="20"/>
                        <a:pt x="3" y="19"/>
                      </a:cubicBezTo>
                      <a:cubicBezTo>
                        <a:pt x="2" y="18"/>
                        <a:pt x="1" y="17"/>
                        <a:pt x="1" y="16"/>
                      </a:cubicBezTo>
                      <a:cubicBezTo>
                        <a:pt x="0" y="14"/>
                        <a:pt x="0" y="13"/>
                        <a:pt x="0" y="12"/>
                      </a:cubicBezTo>
                      <a:cubicBezTo>
                        <a:pt x="0" y="10"/>
                        <a:pt x="0" y="9"/>
                        <a:pt x="1" y="8"/>
                      </a:cubicBezTo>
                      <a:cubicBezTo>
                        <a:pt x="1" y="6"/>
                        <a:pt x="2" y="5"/>
                        <a:pt x="3" y="4"/>
                      </a:cubicBezTo>
                      <a:cubicBezTo>
                        <a:pt x="5" y="2"/>
                        <a:pt x="9" y="0"/>
                        <a:pt x="12" y="1"/>
                      </a:cubicBezTo>
                      <a:cubicBezTo>
                        <a:pt x="13" y="1"/>
                        <a:pt x="14" y="2"/>
                        <a:pt x="14" y="2"/>
                      </a:cubicBezTo>
                      <a:cubicBezTo>
                        <a:pt x="15" y="2"/>
                        <a:pt x="16" y="2"/>
                        <a:pt x="16" y="3"/>
                      </a:cubicBezTo>
                      <a:cubicBezTo>
                        <a:pt x="17" y="3"/>
                        <a:pt x="17" y="4"/>
                        <a:pt x="18" y="4"/>
                      </a:cubicBezTo>
                      <a:cubicBezTo>
                        <a:pt x="19" y="5"/>
                        <a:pt x="20" y="6"/>
                        <a:pt x="20" y="8"/>
                      </a:cubicBezTo>
                      <a:cubicBezTo>
                        <a:pt x="21" y="9"/>
                        <a:pt x="21" y="10"/>
                        <a:pt x="21" y="12"/>
                      </a:cubicBezTo>
                      <a:cubicBezTo>
                        <a:pt x="21" y="13"/>
                        <a:pt x="21" y="14"/>
                        <a:pt x="20" y="16"/>
                      </a:cubicBezTo>
                      <a:cubicBezTo>
                        <a:pt x="20" y="17"/>
                        <a:pt x="19" y="18"/>
                        <a:pt x="18" y="19"/>
                      </a:cubicBezTo>
                      <a:cubicBezTo>
                        <a:pt x="16" y="21"/>
                        <a:pt x="13" y="22"/>
                        <a:pt x="10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311" name="Freeform 683">
                <a:extLst>
                  <a:ext uri="{FF2B5EF4-FFF2-40B4-BE49-F238E27FC236}">
                    <a16:creationId xmlns:a16="http://schemas.microsoft.com/office/drawing/2014/main" id="{396AF597-9242-4FF0-993D-96BBCF0878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3959" y="6217765"/>
                <a:ext cx="360000" cy="432000"/>
              </a:xfrm>
              <a:custGeom>
                <a:avLst/>
                <a:gdLst>
                  <a:gd name="T0" fmla="*/ 94 w 234"/>
                  <a:gd name="T1" fmla="*/ 170 h 312"/>
                  <a:gd name="T2" fmla="*/ 85 w 234"/>
                  <a:gd name="T3" fmla="*/ 176 h 312"/>
                  <a:gd name="T4" fmla="*/ 80 w 234"/>
                  <a:gd name="T5" fmla="*/ 174 h 312"/>
                  <a:gd name="T6" fmla="*/ 42 w 234"/>
                  <a:gd name="T7" fmla="*/ 110 h 312"/>
                  <a:gd name="T8" fmla="*/ 80 w 234"/>
                  <a:gd name="T9" fmla="*/ 45 h 312"/>
                  <a:gd name="T10" fmla="*/ 94 w 234"/>
                  <a:gd name="T11" fmla="*/ 49 h 312"/>
                  <a:gd name="T12" fmla="*/ 90 w 234"/>
                  <a:gd name="T13" fmla="*/ 63 h 312"/>
                  <a:gd name="T14" fmla="*/ 64 w 234"/>
                  <a:gd name="T15" fmla="*/ 110 h 312"/>
                  <a:gd name="T16" fmla="*/ 90 w 234"/>
                  <a:gd name="T17" fmla="*/ 156 h 312"/>
                  <a:gd name="T18" fmla="*/ 94 w 234"/>
                  <a:gd name="T19" fmla="*/ 170 h 312"/>
                  <a:gd name="T20" fmla="*/ 79 w 234"/>
                  <a:gd name="T21" fmla="*/ 198 h 312"/>
                  <a:gd name="T22" fmla="*/ 21 w 234"/>
                  <a:gd name="T23" fmla="*/ 110 h 312"/>
                  <a:gd name="T24" fmla="*/ 79 w 234"/>
                  <a:gd name="T25" fmla="*/ 22 h 312"/>
                  <a:gd name="T26" fmla="*/ 84 w 234"/>
                  <a:gd name="T27" fmla="*/ 8 h 312"/>
                  <a:gd name="T28" fmla="*/ 70 w 234"/>
                  <a:gd name="T29" fmla="*/ 2 h 312"/>
                  <a:gd name="T30" fmla="*/ 0 w 234"/>
                  <a:gd name="T31" fmla="*/ 110 h 312"/>
                  <a:gd name="T32" fmla="*/ 70 w 234"/>
                  <a:gd name="T33" fmla="*/ 217 h 312"/>
                  <a:gd name="T34" fmla="*/ 74 w 234"/>
                  <a:gd name="T35" fmla="*/ 218 h 312"/>
                  <a:gd name="T36" fmla="*/ 84 w 234"/>
                  <a:gd name="T37" fmla="*/ 212 h 312"/>
                  <a:gd name="T38" fmla="*/ 79 w 234"/>
                  <a:gd name="T39" fmla="*/ 198 h 312"/>
                  <a:gd name="T40" fmla="*/ 128 w 234"/>
                  <a:gd name="T41" fmla="*/ 140 h 312"/>
                  <a:gd name="T42" fmla="*/ 128 w 234"/>
                  <a:gd name="T43" fmla="*/ 302 h 312"/>
                  <a:gd name="T44" fmla="*/ 117 w 234"/>
                  <a:gd name="T45" fmla="*/ 312 h 312"/>
                  <a:gd name="T46" fmla="*/ 106 w 234"/>
                  <a:gd name="T47" fmla="*/ 302 h 312"/>
                  <a:gd name="T48" fmla="*/ 106 w 234"/>
                  <a:gd name="T49" fmla="*/ 140 h 312"/>
                  <a:gd name="T50" fmla="*/ 85 w 234"/>
                  <a:gd name="T51" fmla="*/ 110 h 312"/>
                  <a:gd name="T52" fmla="*/ 117 w 234"/>
                  <a:gd name="T53" fmla="*/ 78 h 312"/>
                  <a:gd name="T54" fmla="*/ 149 w 234"/>
                  <a:gd name="T55" fmla="*/ 110 h 312"/>
                  <a:gd name="T56" fmla="*/ 128 w 234"/>
                  <a:gd name="T57" fmla="*/ 140 h 312"/>
                  <a:gd name="T58" fmla="*/ 106 w 234"/>
                  <a:gd name="T59" fmla="*/ 110 h 312"/>
                  <a:gd name="T60" fmla="*/ 117 w 234"/>
                  <a:gd name="T61" fmla="*/ 120 h 312"/>
                  <a:gd name="T62" fmla="*/ 128 w 234"/>
                  <a:gd name="T63" fmla="*/ 110 h 312"/>
                  <a:gd name="T64" fmla="*/ 117 w 234"/>
                  <a:gd name="T65" fmla="*/ 99 h 312"/>
                  <a:gd name="T66" fmla="*/ 106 w 234"/>
                  <a:gd name="T67" fmla="*/ 110 h 312"/>
                  <a:gd name="T68" fmla="*/ 192 w 234"/>
                  <a:gd name="T69" fmla="*/ 110 h 312"/>
                  <a:gd name="T70" fmla="*/ 154 w 234"/>
                  <a:gd name="T71" fmla="*/ 45 h 312"/>
                  <a:gd name="T72" fmla="*/ 140 w 234"/>
                  <a:gd name="T73" fmla="*/ 49 h 312"/>
                  <a:gd name="T74" fmla="*/ 144 w 234"/>
                  <a:gd name="T75" fmla="*/ 63 h 312"/>
                  <a:gd name="T76" fmla="*/ 170 w 234"/>
                  <a:gd name="T77" fmla="*/ 110 h 312"/>
                  <a:gd name="T78" fmla="*/ 144 w 234"/>
                  <a:gd name="T79" fmla="*/ 156 h 312"/>
                  <a:gd name="T80" fmla="*/ 140 w 234"/>
                  <a:gd name="T81" fmla="*/ 170 h 312"/>
                  <a:gd name="T82" fmla="*/ 149 w 234"/>
                  <a:gd name="T83" fmla="*/ 176 h 312"/>
                  <a:gd name="T84" fmla="*/ 154 w 234"/>
                  <a:gd name="T85" fmla="*/ 174 h 312"/>
                  <a:gd name="T86" fmla="*/ 192 w 234"/>
                  <a:gd name="T87" fmla="*/ 110 h 312"/>
                  <a:gd name="T88" fmla="*/ 164 w 234"/>
                  <a:gd name="T89" fmla="*/ 2 h 312"/>
                  <a:gd name="T90" fmla="*/ 150 w 234"/>
                  <a:gd name="T91" fmla="*/ 8 h 312"/>
                  <a:gd name="T92" fmla="*/ 155 w 234"/>
                  <a:gd name="T93" fmla="*/ 22 h 312"/>
                  <a:gd name="T94" fmla="*/ 213 w 234"/>
                  <a:gd name="T95" fmla="*/ 110 h 312"/>
                  <a:gd name="T96" fmla="*/ 155 w 234"/>
                  <a:gd name="T97" fmla="*/ 198 h 312"/>
                  <a:gd name="T98" fmla="*/ 150 w 234"/>
                  <a:gd name="T99" fmla="*/ 212 h 312"/>
                  <a:gd name="T100" fmla="*/ 160 w 234"/>
                  <a:gd name="T101" fmla="*/ 218 h 312"/>
                  <a:gd name="T102" fmla="*/ 164 w 234"/>
                  <a:gd name="T103" fmla="*/ 217 h 312"/>
                  <a:gd name="T104" fmla="*/ 234 w 234"/>
                  <a:gd name="T105" fmla="*/ 110 h 312"/>
                  <a:gd name="T106" fmla="*/ 164 w 234"/>
                  <a:gd name="T107" fmla="*/ 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4" h="312">
                    <a:moveTo>
                      <a:pt x="94" y="170"/>
                    </a:moveTo>
                    <a:cubicBezTo>
                      <a:pt x="92" y="174"/>
                      <a:pt x="89" y="176"/>
                      <a:pt x="85" y="176"/>
                    </a:cubicBezTo>
                    <a:cubicBezTo>
                      <a:pt x="83" y="176"/>
                      <a:pt x="81" y="175"/>
                      <a:pt x="80" y="174"/>
                    </a:cubicBezTo>
                    <a:cubicBezTo>
                      <a:pt x="57" y="161"/>
                      <a:pt x="42" y="136"/>
                      <a:pt x="42" y="110"/>
                    </a:cubicBezTo>
                    <a:cubicBezTo>
                      <a:pt x="42" y="83"/>
                      <a:pt x="57" y="58"/>
                      <a:pt x="80" y="45"/>
                    </a:cubicBezTo>
                    <a:cubicBezTo>
                      <a:pt x="85" y="42"/>
                      <a:pt x="91" y="44"/>
                      <a:pt x="94" y="49"/>
                    </a:cubicBezTo>
                    <a:cubicBezTo>
                      <a:pt x="97" y="54"/>
                      <a:pt x="95" y="61"/>
                      <a:pt x="90" y="63"/>
                    </a:cubicBezTo>
                    <a:cubicBezTo>
                      <a:pt x="74" y="73"/>
                      <a:pt x="64" y="91"/>
                      <a:pt x="64" y="110"/>
                    </a:cubicBezTo>
                    <a:cubicBezTo>
                      <a:pt x="64" y="129"/>
                      <a:pt x="74" y="146"/>
                      <a:pt x="90" y="156"/>
                    </a:cubicBezTo>
                    <a:cubicBezTo>
                      <a:pt x="95" y="159"/>
                      <a:pt x="97" y="165"/>
                      <a:pt x="94" y="170"/>
                    </a:cubicBezTo>
                    <a:close/>
                    <a:moveTo>
                      <a:pt x="79" y="198"/>
                    </a:moveTo>
                    <a:cubicBezTo>
                      <a:pt x="44" y="182"/>
                      <a:pt x="21" y="148"/>
                      <a:pt x="21" y="110"/>
                    </a:cubicBezTo>
                    <a:cubicBezTo>
                      <a:pt x="21" y="71"/>
                      <a:pt x="44" y="37"/>
                      <a:pt x="79" y="22"/>
                    </a:cubicBezTo>
                    <a:cubicBezTo>
                      <a:pt x="84" y="19"/>
                      <a:pt x="86" y="13"/>
                      <a:pt x="84" y="8"/>
                    </a:cubicBezTo>
                    <a:cubicBezTo>
                      <a:pt x="82" y="2"/>
                      <a:pt x="75" y="0"/>
                      <a:pt x="70" y="2"/>
                    </a:cubicBezTo>
                    <a:cubicBezTo>
                      <a:pt x="27" y="21"/>
                      <a:pt x="0" y="63"/>
                      <a:pt x="0" y="110"/>
                    </a:cubicBezTo>
                    <a:cubicBezTo>
                      <a:pt x="0" y="156"/>
                      <a:pt x="27" y="199"/>
                      <a:pt x="70" y="217"/>
                    </a:cubicBezTo>
                    <a:cubicBezTo>
                      <a:pt x="71" y="218"/>
                      <a:pt x="73" y="218"/>
                      <a:pt x="74" y="218"/>
                    </a:cubicBezTo>
                    <a:cubicBezTo>
                      <a:pt x="78" y="218"/>
                      <a:pt x="82" y="216"/>
                      <a:pt x="84" y="212"/>
                    </a:cubicBezTo>
                    <a:cubicBezTo>
                      <a:pt x="86" y="206"/>
                      <a:pt x="84" y="200"/>
                      <a:pt x="79" y="198"/>
                    </a:cubicBezTo>
                    <a:close/>
                    <a:moveTo>
                      <a:pt x="128" y="140"/>
                    </a:moveTo>
                    <a:cubicBezTo>
                      <a:pt x="128" y="302"/>
                      <a:pt x="128" y="302"/>
                      <a:pt x="128" y="302"/>
                    </a:cubicBezTo>
                    <a:cubicBezTo>
                      <a:pt x="128" y="308"/>
                      <a:pt x="123" y="312"/>
                      <a:pt x="117" y="312"/>
                    </a:cubicBezTo>
                    <a:cubicBezTo>
                      <a:pt x="111" y="312"/>
                      <a:pt x="106" y="308"/>
                      <a:pt x="106" y="302"/>
                    </a:cubicBezTo>
                    <a:cubicBezTo>
                      <a:pt x="106" y="140"/>
                      <a:pt x="106" y="140"/>
                      <a:pt x="106" y="140"/>
                    </a:cubicBezTo>
                    <a:cubicBezTo>
                      <a:pt x="94" y="135"/>
                      <a:pt x="85" y="124"/>
                      <a:pt x="85" y="110"/>
                    </a:cubicBezTo>
                    <a:cubicBezTo>
                      <a:pt x="85" y="92"/>
                      <a:pt x="99" y="78"/>
                      <a:pt x="117" y="78"/>
                    </a:cubicBezTo>
                    <a:cubicBezTo>
                      <a:pt x="135" y="78"/>
                      <a:pt x="149" y="92"/>
                      <a:pt x="149" y="110"/>
                    </a:cubicBezTo>
                    <a:cubicBezTo>
                      <a:pt x="149" y="124"/>
                      <a:pt x="140" y="135"/>
                      <a:pt x="128" y="140"/>
                    </a:cubicBezTo>
                    <a:close/>
                    <a:moveTo>
                      <a:pt x="106" y="110"/>
                    </a:moveTo>
                    <a:cubicBezTo>
                      <a:pt x="106" y="116"/>
                      <a:pt x="111" y="120"/>
                      <a:pt x="117" y="120"/>
                    </a:cubicBezTo>
                    <a:cubicBezTo>
                      <a:pt x="123" y="120"/>
                      <a:pt x="128" y="116"/>
                      <a:pt x="128" y="110"/>
                    </a:cubicBezTo>
                    <a:cubicBezTo>
                      <a:pt x="128" y="104"/>
                      <a:pt x="123" y="99"/>
                      <a:pt x="117" y="99"/>
                    </a:cubicBezTo>
                    <a:cubicBezTo>
                      <a:pt x="111" y="99"/>
                      <a:pt x="106" y="104"/>
                      <a:pt x="106" y="110"/>
                    </a:cubicBezTo>
                    <a:close/>
                    <a:moveTo>
                      <a:pt x="192" y="110"/>
                    </a:moveTo>
                    <a:cubicBezTo>
                      <a:pt x="192" y="83"/>
                      <a:pt x="177" y="58"/>
                      <a:pt x="154" y="45"/>
                    </a:cubicBezTo>
                    <a:cubicBezTo>
                      <a:pt x="149" y="42"/>
                      <a:pt x="143" y="44"/>
                      <a:pt x="140" y="49"/>
                    </a:cubicBezTo>
                    <a:cubicBezTo>
                      <a:pt x="137" y="54"/>
                      <a:pt x="139" y="61"/>
                      <a:pt x="144" y="63"/>
                    </a:cubicBezTo>
                    <a:cubicBezTo>
                      <a:pt x="160" y="73"/>
                      <a:pt x="170" y="91"/>
                      <a:pt x="170" y="110"/>
                    </a:cubicBezTo>
                    <a:cubicBezTo>
                      <a:pt x="170" y="129"/>
                      <a:pt x="160" y="146"/>
                      <a:pt x="144" y="156"/>
                    </a:cubicBezTo>
                    <a:cubicBezTo>
                      <a:pt x="139" y="159"/>
                      <a:pt x="137" y="165"/>
                      <a:pt x="140" y="170"/>
                    </a:cubicBezTo>
                    <a:cubicBezTo>
                      <a:pt x="142" y="174"/>
                      <a:pt x="145" y="176"/>
                      <a:pt x="149" y="176"/>
                    </a:cubicBezTo>
                    <a:cubicBezTo>
                      <a:pt x="151" y="176"/>
                      <a:pt x="153" y="175"/>
                      <a:pt x="154" y="174"/>
                    </a:cubicBezTo>
                    <a:cubicBezTo>
                      <a:pt x="177" y="161"/>
                      <a:pt x="192" y="136"/>
                      <a:pt x="192" y="110"/>
                    </a:cubicBezTo>
                    <a:close/>
                    <a:moveTo>
                      <a:pt x="164" y="2"/>
                    </a:moveTo>
                    <a:cubicBezTo>
                      <a:pt x="159" y="0"/>
                      <a:pt x="152" y="2"/>
                      <a:pt x="150" y="8"/>
                    </a:cubicBezTo>
                    <a:cubicBezTo>
                      <a:pt x="148" y="13"/>
                      <a:pt x="150" y="19"/>
                      <a:pt x="155" y="22"/>
                    </a:cubicBezTo>
                    <a:cubicBezTo>
                      <a:pt x="190" y="37"/>
                      <a:pt x="213" y="71"/>
                      <a:pt x="213" y="110"/>
                    </a:cubicBezTo>
                    <a:cubicBezTo>
                      <a:pt x="213" y="148"/>
                      <a:pt x="190" y="182"/>
                      <a:pt x="155" y="198"/>
                    </a:cubicBezTo>
                    <a:cubicBezTo>
                      <a:pt x="150" y="200"/>
                      <a:pt x="148" y="206"/>
                      <a:pt x="150" y="212"/>
                    </a:cubicBezTo>
                    <a:cubicBezTo>
                      <a:pt x="152" y="216"/>
                      <a:pt x="156" y="218"/>
                      <a:pt x="160" y="218"/>
                    </a:cubicBezTo>
                    <a:cubicBezTo>
                      <a:pt x="161" y="218"/>
                      <a:pt x="163" y="218"/>
                      <a:pt x="164" y="217"/>
                    </a:cubicBezTo>
                    <a:cubicBezTo>
                      <a:pt x="207" y="199"/>
                      <a:pt x="234" y="156"/>
                      <a:pt x="234" y="110"/>
                    </a:cubicBezTo>
                    <a:cubicBezTo>
                      <a:pt x="234" y="63"/>
                      <a:pt x="207" y="21"/>
                      <a:pt x="16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07" name="Freeform 252">
              <a:extLst>
                <a:ext uri="{FF2B5EF4-FFF2-40B4-BE49-F238E27FC236}">
                  <a16:creationId xmlns:a16="http://schemas.microsoft.com/office/drawing/2014/main" id="{7021647C-13F3-F90B-402D-8160B2FE199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884162" y="4142744"/>
              <a:ext cx="249759" cy="288000"/>
            </a:xfrm>
            <a:custGeom>
              <a:avLst/>
              <a:gdLst>
                <a:gd name="T0" fmla="*/ 2147483646 w 235"/>
                <a:gd name="T1" fmla="*/ 2147483646 h 320"/>
                <a:gd name="T2" fmla="*/ 2147483646 w 235"/>
                <a:gd name="T3" fmla="*/ 2147483646 h 320"/>
                <a:gd name="T4" fmla="*/ 2147483646 w 235"/>
                <a:gd name="T5" fmla="*/ 2147483646 h 320"/>
                <a:gd name="T6" fmla="*/ 2147483646 w 235"/>
                <a:gd name="T7" fmla="*/ 2147483646 h 320"/>
                <a:gd name="T8" fmla="*/ 2147483646 w 235"/>
                <a:gd name="T9" fmla="*/ 2147483646 h 320"/>
                <a:gd name="T10" fmla="*/ 2147483646 w 235"/>
                <a:gd name="T11" fmla="*/ 2147483646 h 320"/>
                <a:gd name="T12" fmla="*/ 2147483646 w 235"/>
                <a:gd name="T13" fmla="*/ 2147483646 h 320"/>
                <a:gd name="T14" fmla="*/ 2147483646 w 235"/>
                <a:gd name="T15" fmla="*/ 2147483646 h 320"/>
                <a:gd name="T16" fmla="*/ 2147483646 w 235"/>
                <a:gd name="T17" fmla="*/ 2147483646 h 320"/>
                <a:gd name="T18" fmla="*/ 2147483646 w 235"/>
                <a:gd name="T19" fmla="*/ 2147483646 h 320"/>
                <a:gd name="T20" fmla="*/ 2147483646 w 235"/>
                <a:gd name="T21" fmla="*/ 2147483646 h 320"/>
                <a:gd name="T22" fmla="*/ 2147483646 w 235"/>
                <a:gd name="T23" fmla="*/ 2147483646 h 320"/>
                <a:gd name="T24" fmla="*/ 2147483646 w 235"/>
                <a:gd name="T25" fmla="*/ 2147483646 h 320"/>
                <a:gd name="T26" fmla="*/ 2147483646 w 235"/>
                <a:gd name="T27" fmla="*/ 2147483646 h 320"/>
                <a:gd name="T28" fmla="*/ 2147483646 w 235"/>
                <a:gd name="T29" fmla="*/ 2147483646 h 320"/>
                <a:gd name="T30" fmla="*/ 2147483646 w 235"/>
                <a:gd name="T31" fmla="*/ 2147483646 h 320"/>
                <a:gd name="T32" fmla="*/ 2147483646 w 235"/>
                <a:gd name="T33" fmla="*/ 2147483646 h 320"/>
                <a:gd name="T34" fmla="*/ 2147483646 w 235"/>
                <a:gd name="T35" fmla="*/ 2147483646 h 320"/>
                <a:gd name="T36" fmla="*/ 2147483646 w 235"/>
                <a:gd name="T37" fmla="*/ 2147483646 h 320"/>
                <a:gd name="T38" fmla="*/ 2147483646 w 235"/>
                <a:gd name="T39" fmla="*/ 2147483646 h 320"/>
                <a:gd name="T40" fmla="*/ 2147483646 w 235"/>
                <a:gd name="T41" fmla="*/ 2147483646 h 320"/>
                <a:gd name="T42" fmla="*/ 2147483646 w 235"/>
                <a:gd name="T43" fmla="*/ 2147483646 h 320"/>
                <a:gd name="T44" fmla="*/ 2147483646 w 235"/>
                <a:gd name="T45" fmla="*/ 2147483646 h 320"/>
                <a:gd name="T46" fmla="*/ 2147483646 w 235"/>
                <a:gd name="T47" fmla="*/ 2147483646 h 320"/>
                <a:gd name="T48" fmla="*/ 2147483646 w 235"/>
                <a:gd name="T49" fmla="*/ 2147483646 h 320"/>
                <a:gd name="T50" fmla="*/ 2147483646 w 235"/>
                <a:gd name="T51" fmla="*/ 2147483646 h 320"/>
                <a:gd name="T52" fmla="*/ 2147483646 w 235"/>
                <a:gd name="T53" fmla="*/ 2147483646 h 320"/>
                <a:gd name="T54" fmla="*/ 2147483646 w 235"/>
                <a:gd name="T55" fmla="*/ 2147483646 h 320"/>
                <a:gd name="T56" fmla="*/ 2147483646 w 235"/>
                <a:gd name="T57" fmla="*/ 2147483646 h 320"/>
                <a:gd name="T58" fmla="*/ 2147483646 w 235"/>
                <a:gd name="T59" fmla="*/ 2147483646 h 320"/>
                <a:gd name="T60" fmla="*/ 2147483646 w 235"/>
                <a:gd name="T61" fmla="*/ 2147483646 h 320"/>
                <a:gd name="T62" fmla="*/ 2147483646 w 235"/>
                <a:gd name="T63" fmla="*/ 2147483646 h 320"/>
                <a:gd name="T64" fmla="*/ 2147483646 w 235"/>
                <a:gd name="T65" fmla="*/ 2147483646 h 320"/>
                <a:gd name="T66" fmla="*/ 2147483646 w 235"/>
                <a:gd name="T67" fmla="*/ 2147483646 h 320"/>
                <a:gd name="T68" fmla="*/ 2147483646 w 235"/>
                <a:gd name="T69" fmla="*/ 2147483646 h 320"/>
                <a:gd name="T70" fmla="*/ 2147483646 w 235"/>
                <a:gd name="T71" fmla="*/ 2147483646 h 320"/>
                <a:gd name="T72" fmla="*/ 2147483646 w 235"/>
                <a:gd name="T73" fmla="*/ 2147483646 h 320"/>
                <a:gd name="T74" fmla="*/ 2147483646 w 235"/>
                <a:gd name="T75" fmla="*/ 2147483646 h 320"/>
                <a:gd name="T76" fmla="*/ 2147483646 w 235"/>
                <a:gd name="T77" fmla="*/ 2147483646 h 320"/>
                <a:gd name="T78" fmla="*/ 2147483646 w 235"/>
                <a:gd name="T79" fmla="*/ 2147483646 h 320"/>
                <a:gd name="T80" fmla="*/ 2147483646 w 235"/>
                <a:gd name="T81" fmla="*/ 2147483646 h 320"/>
                <a:gd name="T82" fmla="*/ 2147483646 w 235"/>
                <a:gd name="T83" fmla="*/ 2147483646 h 320"/>
                <a:gd name="T84" fmla="*/ 2147483646 w 235"/>
                <a:gd name="T85" fmla="*/ 2147483646 h 320"/>
                <a:gd name="T86" fmla="*/ 2147483646 w 235"/>
                <a:gd name="T87" fmla="*/ 2147483646 h 320"/>
                <a:gd name="T88" fmla="*/ 2147483646 w 235"/>
                <a:gd name="T89" fmla="*/ 2147483646 h 320"/>
                <a:gd name="T90" fmla="*/ 2147483646 w 235"/>
                <a:gd name="T91" fmla="*/ 2147483646 h 320"/>
                <a:gd name="T92" fmla="*/ 2147483646 w 235"/>
                <a:gd name="T93" fmla="*/ 2147483646 h 320"/>
                <a:gd name="T94" fmla="*/ 2147483646 w 235"/>
                <a:gd name="T95" fmla="*/ 2147483646 h 320"/>
                <a:gd name="T96" fmla="*/ 2147483646 w 235"/>
                <a:gd name="T97" fmla="*/ 2147483646 h 320"/>
                <a:gd name="T98" fmla="*/ 2147483646 w 235"/>
                <a:gd name="T99" fmla="*/ 2147483646 h 320"/>
                <a:gd name="T100" fmla="*/ 0 w 235"/>
                <a:gd name="T101" fmla="*/ 2147483646 h 320"/>
                <a:gd name="T102" fmla="*/ 2147483646 w 235"/>
                <a:gd name="T103" fmla="*/ 2147483646 h 320"/>
                <a:gd name="T104" fmla="*/ 2147483646 w 235"/>
                <a:gd name="T105" fmla="*/ 2147483646 h 320"/>
                <a:gd name="T106" fmla="*/ 2147483646 w 235"/>
                <a:gd name="T107" fmla="*/ 2147483646 h 320"/>
                <a:gd name="T108" fmla="*/ 2147483646 w 235"/>
                <a:gd name="T109" fmla="*/ 2147483646 h 320"/>
                <a:gd name="T110" fmla="*/ 2147483646 w 235"/>
                <a:gd name="T111" fmla="*/ 2147483646 h 320"/>
                <a:gd name="T112" fmla="*/ 2147483646 w 235"/>
                <a:gd name="T113" fmla="*/ 2147483646 h 32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35" h="320">
                  <a:moveTo>
                    <a:pt x="87" y="228"/>
                  </a:moveTo>
                  <a:cubicBezTo>
                    <a:pt x="86" y="226"/>
                    <a:pt x="86" y="225"/>
                    <a:pt x="86" y="224"/>
                  </a:cubicBezTo>
                  <a:cubicBezTo>
                    <a:pt x="86" y="221"/>
                    <a:pt x="87" y="218"/>
                    <a:pt x="89" y="216"/>
                  </a:cubicBezTo>
                  <a:cubicBezTo>
                    <a:pt x="89" y="216"/>
                    <a:pt x="90" y="215"/>
                    <a:pt x="90" y="215"/>
                  </a:cubicBezTo>
                  <a:cubicBezTo>
                    <a:pt x="91" y="214"/>
                    <a:pt x="92" y="214"/>
                    <a:pt x="92" y="214"/>
                  </a:cubicBezTo>
                  <a:cubicBezTo>
                    <a:pt x="93" y="214"/>
                    <a:pt x="94" y="213"/>
                    <a:pt x="94" y="213"/>
                  </a:cubicBezTo>
                  <a:cubicBezTo>
                    <a:pt x="98" y="212"/>
                    <a:pt x="101" y="214"/>
                    <a:pt x="104" y="216"/>
                  </a:cubicBezTo>
                  <a:cubicBezTo>
                    <a:pt x="106" y="218"/>
                    <a:pt x="107" y="221"/>
                    <a:pt x="107" y="224"/>
                  </a:cubicBezTo>
                  <a:cubicBezTo>
                    <a:pt x="107" y="225"/>
                    <a:pt x="107" y="226"/>
                    <a:pt x="106" y="228"/>
                  </a:cubicBezTo>
                  <a:cubicBezTo>
                    <a:pt x="106" y="229"/>
                    <a:pt x="105" y="230"/>
                    <a:pt x="104" y="231"/>
                  </a:cubicBezTo>
                  <a:cubicBezTo>
                    <a:pt x="103" y="232"/>
                    <a:pt x="102" y="233"/>
                    <a:pt x="100" y="233"/>
                  </a:cubicBezTo>
                  <a:cubicBezTo>
                    <a:pt x="99" y="234"/>
                    <a:pt x="98" y="234"/>
                    <a:pt x="96" y="234"/>
                  </a:cubicBezTo>
                  <a:cubicBezTo>
                    <a:pt x="93" y="234"/>
                    <a:pt x="91" y="233"/>
                    <a:pt x="89" y="231"/>
                  </a:cubicBezTo>
                  <a:cubicBezTo>
                    <a:pt x="88" y="230"/>
                    <a:pt x="87" y="229"/>
                    <a:pt x="87" y="228"/>
                  </a:cubicBezTo>
                  <a:close/>
                  <a:moveTo>
                    <a:pt x="89" y="274"/>
                  </a:moveTo>
                  <a:cubicBezTo>
                    <a:pt x="90" y="275"/>
                    <a:pt x="91" y="276"/>
                    <a:pt x="92" y="276"/>
                  </a:cubicBezTo>
                  <a:cubicBezTo>
                    <a:pt x="94" y="277"/>
                    <a:pt x="95" y="277"/>
                    <a:pt x="96" y="277"/>
                  </a:cubicBezTo>
                  <a:cubicBezTo>
                    <a:pt x="98" y="277"/>
                    <a:pt x="99" y="277"/>
                    <a:pt x="100" y="276"/>
                  </a:cubicBezTo>
                  <a:cubicBezTo>
                    <a:pt x="102" y="276"/>
                    <a:pt x="103" y="275"/>
                    <a:pt x="104" y="274"/>
                  </a:cubicBezTo>
                  <a:cubicBezTo>
                    <a:pt x="105" y="273"/>
                    <a:pt x="106" y="272"/>
                    <a:pt x="106" y="270"/>
                  </a:cubicBezTo>
                  <a:cubicBezTo>
                    <a:pt x="107" y="269"/>
                    <a:pt x="107" y="268"/>
                    <a:pt x="107" y="266"/>
                  </a:cubicBezTo>
                  <a:cubicBezTo>
                    <a:pt x="107" y="265"/>
                    <a:pt x="107" y="264"/>
                    <a:pt x="106" y="262"/>
                  </a:cubicBezTo>
                  <a:cubicBezTo>
                    <a:pt x="106" y="261"/>
                    <a:pt x="105" y="260"/>
                    <a:pt x="104" y="259"/>
                  </a:cubicBezTo>
                  <a:cubicBezTo>
                    <a:pt x="101" y="256"/>
                    <a:pt x="96" y="255"/>
                    <a:pt x="92" y="257"/>
                  </a:cubicBezTo>
                  <a:cubicBezTo>
                    <a:pt x="91" y="257"/>
                    <a:pt x="90" y="258"/>
                    <a:pt x="89" y="259"/>
                  </a:cubicBezTo>
                  <a:cubicBezTo>
                    <a:pt x="88" y="260"/>
                    <a:pt x="87" y="261"/>
                    <a:pt x="87" y="262"/>
                  </a:cubicBezTo>
                  <a:cubicBezTo>
                    <a:pt x="86" y="264"/>
                    <a:pt x="86" y="265"/>
                    <a:pt x="86" y="266"/>
                  </a:cubicBezTo>
                  <a:cubicBezTo>
                    <a:pt x="86" y="268"/>
                    <a:pt x="86" y="269"/>
                    <a:pt x="87" y="270"/>
                  </a:cubicBezTo>
                  <a:cubicBezTo>
                    <a:pt x="87" y="272"/>
                    <a:pt x="88" y="273"/>
                    <a:pt x="89" y="274"/>
                  </a:cubicBezTo>
                  <a:close/>
                  <a:moveTo>
                    <a:pt x="46" y="231"/>
                  </a:moveTo>
                  <a:cubicBezTo>
                    <a:pt x="48" y="233"/>
                    <a:pt x="51" y="234"/>
                    <a:pt x="54" y="234"/>
                  </a:cubicBezTo>
                  <a:cubicBezTo>
                    <a:pt x="55" y="234"/>
                    <a:pt x="56" y="234"/>
                    <a:pt x="58" y="233"/>
                  </a:cubicBezTo>
                  <a:cubicBezTo>
                    <a:pt x="59" y="233"/>
                    <a:pt x="60" y="232"/>
                    <a:pt x="61" y="231"/>
                  </a:cubicBezTo>
                  <a:cubicBezTo>
                    <a:pt x="62" y="230"/>
                    <a:pt x="63" y="229"/>
                    <a:pt x="63" y="228"/>
                  </a:cubicBezTo>
                  <a:cubicBezTo>
                    <a:pt x="64" y="226"/>
                    <a:pt x="64" y="225"/>
                    <a:pt x="64" y="224"/>
                  </a:cubicBezTo>
                  <a:cubicBezTo>
                    <a:pt x="64" y="221"/>
                    <a:pt x="63" y="218"/>
                    <a:pt x="61" y="216"/>
                  </a:cubicBezTo>
                  <a:cubicBezTo>
                    <a:pt x="60" y="215"/>
                    <a:pt x="59" y="214"/>
                    <a:pt x="58" y="214"/>
                  </a:cubicBezTo>
                  <a:cubicBezTo>
                    <a:pt x="54" y="212"/>
                    <a:pt x="49" y="213"/>
                    <a:pt x="46" y="216"/>
                  </a:cubicBezTo>
                  <a:cubicBezTo>
                    <a:pt x="44" y="218"/>
                    <a:pt x="43" y="221"/>
                    <a:pt x="43" y="224"/>
                  </a:cubicBezTo>
                  <a:cubicBezTo>
                    <a:pt x="43" y="225"/>
                    <a:pt x="43" y="226"/>
                    <a:pt x="44" y="228"/>
                  </a:cubicBezTo>
                  <a:cubicBezTo>
                    <a:pt x="44" y="229"/>
                    <a:pt x="45" y="230"/>
                    <a:pt x="46" y="231"/>
                  </a:cubicBezTo>
                  <a:close/>
                  <a:moveTo>
                    <a:pt x="54" y="192"/>
                  </a:moveTo>
                  <a:cubicBezTo>
                    <a:pt x="57" y="192"/>
                    <a:pt x="59" y="191"/>
                    <a:pt x="61" y="189"/>
                  </a:cubicBezTo>
                  <a:cubicBezTo>
                    <a:pt x="62" y="188"/>
                    <a:pt x="63" y="186"/>
                    <a:pt x="63" y="185"/>
                  </a:cubicBezTo>
                  <a:cubicBezTo>
                    <a:pt x="64" y="184"/>
                    <a:pt x="64" y="182"/>
                    <a:pt x="64" y="181"/>
                  </a:cubicBezTo>
                  <a:cubicBezTo>
                    <a:pt x="64" y="180"/>
                    <a:pt x="64" y="178"/>
                    <a:pt x="63" y="177"/>
                  </a:cubicBezTo>
                  <a:cubicBezTo>
                    <a:pt x="63" y="176"/>
                    <a:pt x="62" y="174"/>
                    <a:pt x="61" y="173"/>
                  </a:cubicBezTo>
                  <a:cubicBezTo>
                    <a:pt x="60" y="172"/>
                    <a:pt x="59" y="172"/>
                    <a:pt x="58" y="171"/>
                  </a:cubicBezTo>
                  <a:cubicBezTo>
                    <a:pt x="55" y="170"/>
                    <a:pt x="52" y="170"/>
                    <a:pt x="50" y="171"/>
                  </a:cubicBezTo>
                  <a:cubicBezTo>
                    <a:pt x="48" y="172"/>
                    <a:pt x="47" y="172"/>
                    <a:pt x="46" y="173"/>
                  </a:cubicBezTo>
                  <a:cubicBezTo>
                    <a:pt x="45" y="174"/>
                    <a:pt x="44" y="176"/>
                    <a:pt x="44" y="177"/>
                  </a:cubicBezTo>
                  <a:cubicBezTo>
                    <a:pt x="43" y="178"/>
                    <a:pt x="43" y="180"/>
                    <a:pt x="43" y="181"/>
                  </a:cubicBezTo>
                  <a:cubicBezTo>
                    <a:pt x="43" y="184"/>
                    <a:pt x="44" y="187"/>
                    <a:pt x="46" y="189"/>
                  </a:cubicBezTo>
                  <a:cubicBezTo>
                    <a:pt x="48" y="191"/>
                    <a:pt x="51" y="192"/>
                    <a:pt x="54" y="192"/>
                  </a:cubicBezTo>
                  <a:close/>
                  <a:moveTo>
                    <a:pt x="92" y="191"/>
                  </a:moveTo>
                  <a:cubicBezTo>
                    <a:pt x="94" y="191"/>
                    <a:pt x="95" y="192"/>
                    <a:pt x="96" y="192"/>
                  </a:cubicBezTo>
                  <a:cubicBezTo>
                    <a:pt x="99" y="192"/>
                    <a:pt x="102" y="191"/>
                    <a:pt x="104" y="189"/>
                  </a:cubicBezTo>
                  <a:cubicBezTo>
                    <a:pt x="105" y="188"/>
                    <a:pt x="106" y="186"/>
                    <a:pt x="106" y="185"/>
                  </a:cubicBezTo>
                  <a:cubicBezTo>
                    <a:pt x="107" y="184"/>
                    <a:pt x="107" y="182"/>
                    <a:pt x="107" y="181"/>
                  </a:cubicBezTo>
                  <a:cubicBezTo>
                    <a:pt x="107" y="180"/>
                    <a:pt x="107" y="178"/>
                    <a:pt x="106" y="177"/>
                  </a:cubicBezTo>
                  <a:cubicBezTo>
                    <a:pt x="106" y="176"/>
                    <a:pt x="105" y="174"/>
                    <a:pt x="104" y="173"/>
                  </a:cubicBezTo>
                  <a:cubicBezTo>
                    <a:pt x="100" y="169"/>
                    <a:pt x="93" y="169"/>
                    <a:pt x="89" y="173"/>
                  </a:cubicBezTo>
                  <a:cubicBezTo>
                    <a:pt x="88" y="174"/>
                    <a:pt x="87" y="176"/>
                    <a:pt x="87" y="177"/>
                  </a:cubicBezTo>
                  <a:cubicBezTo>
                    <a:pt x="86" y="178"/>
                    <a:pt x="86" y="180"/>
                    <a:pt x="86" y="181"/>
                  </a:cubicBezTo>
                  <a:cubicBezTo>
                    <a:pt x="86" y="184"/>
                    <a:pt x="87" y="187"/>
                    <a:pt x="89" y="189"/>
                  </a:cubicBezTo>
                  <a:cubicBezTo>
                    <a:pt x="90" y="190"/>
                    <a:pt x="91" y="190"/>
                    <a:pt x="92" y="191"/>
                  </a:cubicBezTo>
                  <a:close/>
                  <a:moveTo>
                    <a:pt x="89" y="146"/>
                  </a:moveTo>
                  <a:cubicBezTo>
                    <a:pt x="90" y="147"/>
                    <a:pt x="91" y="148"/>
                    <a:pt x="92" y="148"/>
                  </a:cubicBezTo>
                  <a:cubicBezTo>
                    <a:pt x="94" y="149"/>
                    <a:pt x="95" y="149"/>
                    <a:pt x="96" y="149"/>
                  </a:cubicBezTo>
                  <a:cubicBezTo>
                    <a:pt x="98" y="149"/>
                    <a:pt x="99" y="149"/>
                    <a:pt x="100" y="148"/>
                  </a:cubicBezTo>
                  <a:cubicBezTo>
                    <a:pt x="102" y="148"/>
                    <a:pt x="103" y="147"/>
                    <a:pt x="104" y="146"/>
                  </a:cubicBezTo>
                  <a:cubicBezTo>
                    <a:pt x="106" y="144"/>
                    <a:pt x="107" y="141"/>
                    <a:pt x="107" y="138"/>
                  </a:cubicBezTo>
                  <a:cubicBezTo>
                    <a:pt x="107" y="136"/>
                    <a:pt x="106" y="133"/>
                    <a:pt x="104" y="131"/>
                  </a:cubicBezTo>
                  <a:cubicBezTo>
                    <a:pt x="103" y="130"/>
                    <a:pt x="103" y="130"/>
                    <a:pt x="102" y="129"/>
                  </a:cubicBezTo>
                  <a:cubicBezTo>
                    <a:pt x="102" y="129"/>
                    <a:pt x="101" y="129"/>
                    <a:pt x="100" y="129"/>
                  </a:cubicBezTo>
                  <a:cubicBezTo>
                    <a:pt x="100" y="128"/>
                    <a:pt x="99" y="128"/>
                    <a:pt x="98" y="128"/>
                  </a:cubicBezTo>
                  <a:cubicBezTo>
                    <a:pt x="96" y="127"/>
                    <a:pt x="94" y="128"/>
                    <a:pt x="92" y="129"/>
                  </a:cubicBezTo>
                  <a:cubicBezTo>
                    <a:pt x="91" y="129"/>
                    <a:pt x="90" y="130"/>
                    <a:pt x="89" y="131"/>
                  </a:cubicBezTo>
                  <a:cubicBezTo>
                    <a:pt x="87" y="133"/>
                    <a:pt x="86" y="136"/>
                    <a:pt x="86" y="138"/>
                  </a:cubicBezTo>
                  <a:cubicBezTo>
                    <a:pt x="86" y="140"/>
                    <a:pt x="86" y="141"/>
                    <a:pt x="87" y="142"/>
                  </a:cubicBezTo>
                  <a:cubicBezTo>
                    <a:pt x="87" y="144"/>
                    <a:pt x="88" y="145"/>
                    <a:pt x="89" y="146"/>
                  </a:cubicBezTo>
                  <a:close/>
                  <a:moveTo>
                    <a:pt x="50" y="148"/>
                  </a:moveTo>
                  <a:cubicBezTo>
                    <a:pt x="51" y="149"/>
                    <a:pt x="52" y="149"/>
                    <a:pt x="54" y="149"/>
                  </a:cubicBezTo>
                  <a:cubicBezTo>
                    <a:pt x="55" y="149"/>
                    <a:pt x="56" y="149"/>
                    <a:pt x="58" y="148"/>
                  </a:cubicBezTo>
                  <a:cubicBezTo>
                    <a:pt x="59" y="148"/>
                    <a:pt x="60" y="147"/>
                    <a:pt x="61" y="146"/>
                  </a:cubicBezTo>
                  <a:cubicBezTo>
                    <a:pt x="62" y="145"/>
                    <a:pt x="63" y="144"/>
                    <a:pt x="63" y="142"/>
                  </a:cubicBezTo>
                  <a:cubicBezTo>
                    <a:pt x="64" y="141"/>
                    <a:pt x="64" y="140"/>
                    <a:pt x="64" y="138"/>
                  </a:cubicBezTo>
                  <a:cubicBezTo>
                    <a:pt x="64" y="136"/>
                    <a:pt x="63" y="133"/>
                    <a:pt x="61" y="131"/>
                  </a:cubicBezTo>
                  <a:cubicBezTo>
                    <a:pt x="61" y="130"/>
                    <a:pt x="60" y="130"/>
                    <a:pt x="60" y="129"/>
                  </a:cubicBezTo>
                  <a:cubicBezTo>
                    <a:pt x="59" y="129"/>
                    <a:pt x="58" y="129"/>
                    <a:pt x="58" y="129"/>
                  </a:cubicBezTo>
                  <a:cubicBezTo>
                    <a:pt x="57" y="128"/>
                    <a:pt x="56" y="128"/>
                    <a:pt x="56" y="128"/>
                  </a:cubicBezTo>
                  <a:cubicBezTo>
                    <a:pt x="54" y="128"/>
                    <a:pt x="53" y="128"/>
                    <a:pt x="52" y="128"/>
                  </a:cubicBezTo>
                  <a:cubicBezTo>
                    <a:pt x="51" y="128"/>
                    <a:pt x="50" y="128"/>
                    <a:pt x="50" y="129"/>
                  </a:cubicBezTo>
                  <a:cubicBezTo>
                    <a:pt x="49" y="129"/>
                    <a:pt x="48" y="129"/>
                    <a:pt x="48" y="129"/>
                  </a:cubicBezTo>
                  <a:cubicBezTo>
                    <a:pt x="47" y="130"/>
                    <a:pt x="47" y="130"/>
                    <a:pt x="46" y="131"/>
                  </a:cubicBezTo>
                  <a:cubicBezTo>
                    <a:pt x="44" y="133"/>
                    <a:pt x="43" y="136"/>
                    <a:pt x="43" y="138"/>
                  </a:cubicBezTo>
                  <a:cubicBezTo>
                    <a:pt x="43" y="141"/>
                    <a:pt x="44" y="144"/>
                    <a:pt x="46" y="146"/>
                  </a:cubicBezTo>
                  <a:cubicBezTo>
                    <a:pt x="47" y="147"/>
                    <a:pt x="48" y="148"/>
                    <a:pt x="50" y="148"/>
                  </a:cubicBezTo>
                  <a:close/>
                  <a:moveTo>
                    <a:pt x="50" y="105"/>
                  </a:moveTo>
                  <a:cubicBezTo>
                    <a:pt x="51" y="106"/>
                    <a:pt x="52" y="106"/>
                    <a:pt x="54" y="106"/>
                  </a:cubicBezTo>
                  <a:cubicBezTo>
                    <a:pt x="57" y="106"/>
                    <a:pt x="59" y="105"/>
                    <a:pt x="61" y="103"/>
                  </a:cubicBezTo>
                  <a:cubicBezTo>
                    <a:pt x="63" y="101"/>
                    <a:pt x="64" y="99"/>
                    <a:pt x="64" y="96"/>
                  </a:cubicBezTo>
                  <a:cubicBezTo>
                    <a:pt x="64" y="94"/>
                    <a:pt x="64" y="93"/>
                    <a:pt x="63" y="92"/>
                  </a:cubicBezTo>
                  <a:cubicBezTo>
                    <a:pt x="63" y="90"/>
                    <a:pt x="62" y="89"/>
                    <a:pt x="61" y="88"/>
                  </a:cubicBezTo>
                  <a:cubicBezTo>
                    <a:pt x="60" y="87"/>
                    <a:pt x="59" y="86"/>
                    <a:pt x="58" y="86"/>
                  </a:cubicBezTo>
                  <a:cubicBezTo>
                    <a:pt x="56" y="85"/>
                    <a:pt x="54" y="85"/>
                    <a:pt x="52" y="85"/>
                  </a:cubicBezTo>
                  <a:cubicBezTo>
                    <a:pt x="51" y="85"/>
                    <a:pt x="50" y="86"/>
                    <a:pt x="50" y="86"/>
                  </a:cubicBezTo>
                  <a:cubicBezTo>
                    <a:pt x="49" y="86"/>
                    <a:pt x="48" y="86"/>
                    <a:pt x="48" y="87"/>
                  </a:cubicBezTo>
                  <a:cubicBezTo>
                    <a:pt x="47" y="87"/>
                    <a:pt x="47" y="88"/>
                    <a:pt x="46" y="88"/>
                  </a:cubicBezTo>
                  <a:cubicBezTo>
                    <a:pt x="45" y="89"/>
                    <a:pt x="44" y="90"/>
                    <a:pt x="44" y="92"/>
                  </a:cubicBezTo>
                  <a:cubicBezTo>
                    <a:pt x="43" y="93"/>
                    <a:pt x="43" y="94"/>
                    <a:pt x="43" y="96"/>
                  </a:cubicBezTo>
                  <a:cubicBezTo>
                    <a:pt x="43" y="99"/>
                    <a:pt x="44" y="101"/>
                    <a:pt x="46" y="103"/>
                  </a:cubicBezTo>
                  <a:cubicBezTo>
                    <a:pt x="47" y="104"/>
                    <a:pt x="48" y="105"/>
                    <a:pt x="50" y="105"/>
                  </a:cubicBezTo>
                  <a:close/>
                  <a:moveTo>
                    <a:pt x="92" y="105"/>
                  </a:moveTo>
                  <a:cubicBezTo>
                    <a:pt x="94" y="106"/>
                    <a:pt x="95" y="106"/>
                    <a:pt x="96" y="106"/>
                  </a:cubicBezTo>
                  <a:cubicBezTo>
                    <a:pt x="98" y="106"/>
                    <a:pt x="99" y="106"/>
                    <a:pt x="100" y="105"/>
                  </a:cubicBezTo>
                  <a:cubicBezTo>
                    <a:pt x="102" y="105"/>
                    <a:pt x="103" y="104"/>
                    <a:pt x="104" y="103"/>
                  </a:cubicBezTo>
                  <a:cubicBezTo>
                    <a:pt x="106" y="101"/>
                    <a:pt x="107" y="99"/>
                    <a:pt x="107" y="96"/>
                  </a:cubicBezTo>
                  <a:cubicBezTo>
                    <a:pt x="107" y="94"/>
                    <a:pt x="107" y="93"/>
                    <a:pt x="106" y="92"/>
                  </a:cubicBezTo>
                  <a:cubicBezTo>
                    <a:pt x="106" y="90"/>
                    <a:pt x="105" y="89"/>
                    <a:pt x="104" y="88"/>
                  </a:cubicBezTo>
                  <a:cubicBezTo>
                    <a:pt x="101" y="85"/>
                    <a:pt x="96" y="84"/>
                    <a:pt x="92" y="86"/>
                  </a:cubicBezTo>
                  <a:cubicBezTo>
                    <a:pt x="91" y="86"/>
                    <a:pt x="90" y="87"/>
                    <a:pt x="89" y="88"/>
                  </a:cubicBezTo>
                  <a:cubicBezTo>
                    <a:pt x="88" y="89"/>
                    <a:pt x="87" y="90"/>
                    <a:pt x="87" y="92"/>
                  </a:cubicBezTo>
                  <a:cubicBezTo>
                    <a:pt x="86" y="93"/>
                    <a:pt x="86" y="94"/>
                    <a:pt x="86" y="96"/>
                  </a:cubicBezTo>
                  <a:cubicBezTo>
                    <a:pt x="86" y="99"/>
                    <a:pt x="87" y="101"/>
                    <a:pt x="89" y="103"/>
                  </a:cubicBezTo>
                  <a:cubicBezTo>
                    <a:pt x="90" y="104"/>
                    <a:pt x="91" y="105"/>
                    <a:pt x="92" y="105"/>
                  </a:cubicBezTo>
                  <a:close/>
                  <a:moveTo>
                    <a:pt x="96" y="64"/>
                  </a:moveTo>
                  <a:cubicBezTo>
                    <a:pt x="98" y="64"/>
                    <a:pt x="99" y="63"/>
                    <a:pt x="100" y="63"/>
                  </a:cubicBezTo>
                  <a:cubicBezTo>
                    <a:pt x="102" y="62"/>
                    <a:pt x="103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7" y="56"/>
                    <a:pt x="107" y="54"/>
                    <a:pt x="107" y="53"/>
                  </a:cubicBezTo>
                  <a:cubicBezTo>
                    <a:pt x="107" y="52"/>
                    <a:pt x="107" y="50"/>
                    <a:pt x="106" y="49"/>
                  </a:cubicBezTo>
                  <a:cubicBezTo>
                    <a:pt x="106" y="48"/>
                    <a:pt x="105" y="46"/>
                    <a:pt x="104" y="45"/>
                  </a:cubicBezTo>
                  <a:cubicBezTo>
                    <a:pt x="103" y="44"/>
                    <a:pt x="102" y="44"/>
                    <a:pt x="100" y="43"/>
                  </a:cubicBezTo>
                  <a:cubicBezTo>
                    <a:pt x="97" y="41"/>
                    <a:pt x="92" y="42"/>
                    <a:pt x="89" y="45"/>
                  </a:cubicBezTo>
                  <a:cubicBezTo>
                    <a:pt x="88" y="46"/>
                    <a:pt x="87" y="48"/>
                    <a:pt x="87" y="49"/>
                  </a:cubicBezTo>
                  <a:cubicBezTo>
                    <a:pt x="86" y="50"/>
                    <a:pt x="86" y="52"/>
                    <a:pt x="86" y="53"/>
                  </a:cubicBezTo>
                  <a:cubicBezTo>
                    <a:pt x="86" y="56"/>
                    <a:pt x="87" y="59"/>
                    <a:pt x="89" y="61"/>
                  </a:cubicBezTo>
                  <a:cubicBezTo>
                    <a:pt x="91" y="63"/>
                    <a:pt x="93" y="64"/>
                    <a:pt x="96" y="64"/>
                  </a:cubicBezTo>
                  <a:close/>
                  <a:moveTo>
                    <a:pt x="50" y="63"/>
                  </a:moveTo>
                  <a:cubicBezTo>
                    <a:pt x="51" y="63"/>
                    <a:pt x="52" y="64"/>
                    <a:pt x="54" y="64"/>
                  </a:cubicBezTo>
                  <a:cubicBezTo>
                    <a:pt x="57" y="64"/>
                    <a:pt x="59" y="63"/>
                    <a:pt x="61" y="61"/>
                  </a:cubicBezTo>
                  <a:cubicBezTo>
                    <a:pt x="63" y="59"/>
                    <a:pt x="64" y="56"/>
                    <a:pt x="64" y="53"/>
                  </a:cubicBezTo>
                  <a:cubicBezTo>
                    <a:pt x="64" y="52"/>
                    <a:pt x="64" y="50"/>
                    <a:pt x="63" y="49"/>
                  </a:cubicBezTo>
                  <a:cubicBezTo>
                    <a:pt x="63" y="48"/>
                    <a:pt x="62" y="46"/>
                    <a:pt x="61" y="45"/>
                  </a:cubicBezTo>
                  <a:cubicBezTo>
                    <a:pt x="57" y="41"/>
                    <a:pt x="50" y="41"/>
                    <a:pt x="46" y="45"/>
                  </a:cubicBezTo>
                  <a:cubicBezTo>
                    <a:pt x="45" y="46"/>
                    <a:pt x="44" y="48"/>
                    <a:pt x="44" y="49"/>
                  </a:cubicBezTo>
                  <a:cubicBezTo>
                    <a:pt x="43" y="50"/>
                    <a:pt x="43" y="52"/>
                    <a:pt x="43" y="53"/>
                  </a:cubicBezTo>
                  <a:cubicBezTo>
                    <a:pt x="43" y="56"/>
                    <a:pt x="44" y="59"/>
                    <a:pt x="46" y="61"/>
                  </a:cubicBezTo>
                  <a:cubicBezTo>
                    <a:pt x="47" y="62"/>
                    <a:pt x="48" y="62"/>
                    <a:pt x="50" y="63"/>
                  </a:cubicBezTo>
                  <a:close/>
                  <a:moveTo>
                    <a:pt x="174" y="231"/>
                  </a:moveTo>
                  <a:cubicBezTo>
                    <a:pt x="176" y="233"/>
                    <a:pt x="179" y="234"/>
                    <a:pt x="182" y="234"/>
                  </a:cubicBezTo>
                  <a:cubicBezTo>
                    <a:pt x="184" y="234"/>
                    <a:pt x="187" y="233"/>
                    <a:pt x="189" y="231"/>
                  </a:cubicBezTo>
                  <a:cubicBezTo>
                    <a:pt x="190" y="230"/>
                    <a:pt x="191" y="229"/>
                    <a:pt x="191" y="228"/>
                  </a:cubicBezTo>
                  <a:cubicBezTo>
                    <a:pt x="192" y="226"/>
                    <a:pt x="192" y="225"/>
                    <a:pt x="192" y="224"/>
                  </a:cubicBezTo>
                  <a:cubicBezTo>
                    <a:pt x="192" y="222"/>
                    <a:pt x="192" y="221"/>
                    <a:pt x="191" y="220"/>
                  </a:cubicBezTo>
                  <a:cubicBezTo>
                    <a:pt x="191" y="218"/>
                    <a:pt x="190" y="217"/>
                    <a:pt x="189" y="216"/>
                  </a:cubicBezTo>
                  <a:cubicBezTo>
                    <a:pt x="189" y="216"/>
                    <a:pt x="188" y="215"/>
                    <a:pt x="188" y="215"/>
                  </a:cubicBezTo>
                  <a:cubicBezTo>
                    <a:pt x="187" y="214"/>
                    <a:pt x="186" y="214"/>
                    <a:pt x="186" y="214"/>
                  </a:cubicBezTo>
                  <a:cubicBezTo>
                    <a:pt x="185" y="214"/>
                    <a:pt x="184" y="213"/>
                    <a:pt x="184" y="213"/>
                  </a:cubicBezTo>
                  <a:cubicBezTo>
                    <a:pt x="182" y="213"/>
                    <a:pt x="181" y="213"/>
                    <a:pt x="180" y="213"/>
                  </a:cubicBezTo>
                  <a:cubicBezTo>
                    <a:pt x="179" y="213"/>
                    <a:pt x="178" y="214"/>
                    <a:pt x="178" y="214"/>
                  </a:cubicBezTo>
                  <a:cubicBezTo>
                    <a:pt x="177" y="214"/>
                    <a:pt x="176" y="214"/>
                    <a:pt x="176" y="215"/>
                  </a:cubicBezTo>
                  <a:cubicBezTo>
                    <a:pt x="175" y="215"/>
                    <a:pt x="175" y="216"/>
                    <a:pt x="174" y="216"/>
                  </a:cubicBezTo>
                  <a:cubicBezTo>
                    <a:pt x="173" y="217"/>
                    <a:pt x="172" y="218"/>
                    <a:pt x="172" y="220"/>
                  </a:cubicBezTo>
                  <a:cubicBezTo>
                    <a:pt x="171" y="221"/>
                    <a:pt x="171" y="222"/>
                    <a:pt x="171" y="224"/>
                  </a:cubicBezTo>
                  <a:cubicBezTo>
                    <a:pt x="171" y="225"/>
                    <a:pt x="171" y="226"/>
                    <a:pt x="172" y="228"/>
                  </a:cubicBezTo>
                  <a:cubicBezTo>
                    <a:pt x="172" y="229"/>
                    <a:pt x="173" y="230"/>
                    <a:pt x="174" y="231"/>
                  </a:cubicBezTo>
                  <a:close/>
                  <a:moveTo>
                    <a:pt x="174" y="189"/>
                  </a:moveTo>
                  <a:cubicBezTo>
                    <a:pt x="175" y="190"/>
                    <a:pt x="176" y="190"/>
                    <a:pt x="178" y="191"/>
                  </a:cubicBezTo>
                  <a:cubicBezTo>
                    <a:pt x="179" y="191"/>
                    <a:pt x="180" y="192"/>
                    <a:pt x="182" y="192"/>
                  </a:cubicBezTo>
                  <a:cubicBezTo>
                    <a:pt x="183" y="192"/>
                    <a:pt x="184" y="191"/>
                    <a:pt x="186" y="191"/>
                  </a:cubicBezTo>
                  <a:cubicBezTo>
                    <a:pt x="187" y="190"/>
                    <a:pt x="188" y="190"/>
                    <a:pt x="189" y="189"/>
                  </a:cubicBezTo>
                  <a:cubicBezTo>
                    <a:pt x="190" y="188"/>
                    <a:pt x="191" y="186"/>
                    <a:pt x="191" y="185"/>
                  </a:cubicBezTo>
                  <a:cubicBezTo>
                    <a:pt x="192" y="184"/>
                    <a:pt x="192" y="182"/>
                    <a:pt x="192" y="181"/>
                  </a:cubicBezTo>
                  <a:cubicBezTo>
                    <a:pt x="192" y="180"/>
                    <a:pt x="192" y="178"/>
                    <a:pt x="191" y="177"/>
                  </a:cubicBezTo>
                  <a:cubicBezTo>
                    <a:pt x="191" y="176"/>
                    <a:pt x="190" y="174"/>
                    <a:pt x="189" y="173"/>
                  </a:cubicBezTo>
                  <a:cubicBezTo>
                    <a:pt x="188" y="172"/>
                    <a:pt x="187" y="172"/>
                    <a:pt x="186" y="171"/>
                  </a:cubicBezTo>
                  <a:cubicBezTo>
                    <a:pt x="183" y="170"/>
                    <a:pt x="180" y="170"/>
                    <a:pt x="178" y="171"/>
                  </a:cubicBezTo>
                  <a:cubicBezTo>
                    <a:pt x="176" y="172"/>
                    <a:pt x="175" y="172"/>
                    <a:pt x="174" y="173"/>
                  </a:cubicBezTo>
                  <a:cubicBezTo>
                    <a:pt x="173" y="174"/>
                    <a:pt x="172" y="176"/>
                    <a:pt x="172" y="177"/>
                  </a:cubicBezTo>
                  <a:cubicBezTo>
                    <a:pt x="171" y="178"/>
                    <a:pt x="171" y="180"/>
                    <a:pt x="171" y="181"/>
                  </a:cubicBezTo>
                  <a:cubicBezTo>
                    <a:pt x="171" y="182"/>
                    <a:pt x="171" y="184"/>
                    <a:pt x="172" y="185"/>
                  </a:cubicBezTo>
                  <a:cubicBezTo>
                    <a:pt x="172" y="186"/>
                    <a:pt x="173" y="188"/>
                    <a:pt x="174" y="189"/>
                  </a:cubicBezTo>
                  <a:close/>
                  <a:moveTo>
                    <a:pt x="174" y="146"/>
                  </a:moveTo>
                  <a:cubicBezTo>
                    <a:pt x="175" y="147"/>
                    <a:pt x="176" y="148"/>
                    <a:pt x="178" y="148"/>
                  </a:cubicBezTo>
                  <a:cubicBezTo>
                    <a:pt x="179" y="149"/>
                    <a:pt x="180" y="149"/>
                    <a:pt x="182" y="149"/>
                  </a:cubicBezTo>
                  <a:cubicBezTo>
                    <a:pt x="183" y="149"/>
                    <a:pt x="184" y="149"/>
                    <a:pt x="186" y="148"/>
                  </a:cubicBezTo>
                  <a:cubicBezTo>
                    <a:pt x="187" y="148"/>
                    <a:pt x="188" y="147"/>
                    <a:pt x="189" y="146"/>
                  </a:cubicBezTo>
                  <a:cubicBezTo>
                    <a:pt x="190" y="145"/>
                    <a:pt x="191" y="144"/>
                    <a:pt x="191" y="142"/>
                  </a:cubicBezTo>
                  <a:cubicBezTo>
                    <a:pt x="192" y="141"/>
                    <a:pt x="192" y="140"/>
                    <a:pt x="192" y="138"/>
                  </a:cubicBezTo>
                  <a:cubicBezTo>
                    <a:pt x="192" y="136"/>
                    <a:pt x="191" y="133"/>
                    <a:pt x="189" y="131"/>
                  </a:cubicBezTo>
                  <a:cubicBezTo>
                    <a:pt x="187" y="128"/>
                    <a:pt x="183" y="127"/>
                    <a:pt x="180" y="128"/>
                  </a:cubicBezTo>
                  <a:cubicBezTo>
                    <a:pt x="179" y="128"/>
                    <a:pt x="178" y="128"/>
                    <a:pt x="178" y="129"/>
                  </a:cubicBezTo>
                  <a:cubicBezTo>
                    <a:pt x="177" y="129"/>
                    <a:pt x="176" y="129"/>
                    <a:pt x="176" y="129"/>
                  </a:cubicBezTo>
                  <a:cubicBezTo>
                    <a:pt x="175" y="130"/>
                    <a:pt x="175" y="130"/>
                    <a:pt x="174" y="131"/>
                  </a:cubicBezTo>
                  <a:cubicBezTo>
                    <a:pt x="172" y="133"/>
                    <a:pt x="171" y="136"/>
                    <a:pt x="171" y="138"/>
                  </a:cubicBezTo>
                  <a:cubicBezTo>
                    <a:pt x="171" y="140"/>
                    <a:pt x="171" y="141"/>
                    <a:pt x="172" y="142"/>
                  </a:cubicBezTo>
                  <a:cubicBezTo>
                    <a:pt x="172" y="144"/>
                    <a:pt x="173" y="145"/>
                    <a:pt x="174" y="146"/>
                  </a:cubicBezTo>
                  <a:close/>
                  <a:moveTo>
                    <a:pt x="235" y="96"/>
                  </a:moveTo>
                  <a:cubicBezTo>
                    <a:pt x="235" y="309"/>
                    <a:pt x="235" y="309"/>
                    <a:pt x="235" y="309"/>
                  </a:cubicBezTo>
                  <a:cubicBezTo>
                    <a:pt x="235" y="315"/>
                    <a:pt x="230" y="320"/>
                    <a:pt x="224" y="320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5" y="320"/>
                    <a:pt x="0" y="315"/>
                    <a:pt x="0" y="30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45" y="0"/>
                    <a:pt x="150" y="4"/>
                    <a:pt x="150" y="10"/>
                  </a:cubicBezTo>
                  <a:cubicBezTo>
                    <a:pt x="150" y="85"/>
                    <a:pt x="150" y="85"/>
                    <a:pt x="150" y="85"/>
                  </a:cubicBezTo>
                  <a:cubicBezTo>
                    <a:pt x="224" y="85"/>
                    <a:pt x="224" y="85"/>
                    <a:pt x="224" y="85"/>
                  </a:cubicBezTo>
                  <a:cubicBezTo>
                    <a:pt x="230" y="85"/>
                    <a:pt x="235" y="90"/>
                    <a:pt x="235" y="96"/>
                  </a:cubicBezTo>
                  <a:close/>
                  <a:moveTo>
                    <a:pt x="22" y="298"/>
                  </a:moveTo>
                  <a:cubicBezTo>
                    <a:pt x="43" y="298"/>
                    <a:pt x="43" y="298"/>
                    <a:pt x="43" y="298"/>
                  </a:cubicBezTo>
                  <a:cubicBezTo>
                    <a:pt x="43" y="266"/>
                    <a:pt x="43" y="266"/>
                    <a:pt x="43" y="266"/>
                  </a:cubicBezTo>
                  <a:cubicBezTo>
                    <a:pt x="43" y="260"/>
                    <a:pt x="48" y="256"/>
                    <a:pt x="54" y="256"/>
                  </a:cubicBezTo>
                  <a:cubicBezTo>
                    <a:pt x="60" y="256"/>
                    <a:pt x="64" y="260"/>
                    <a:pt x="64" y="266"/>
                  </a:cubicBezTo>
                  <a:cubicBezTo>
                    <a:pt x="64" y="298"/>
                    <a:pt x="64" y="298"/>
                    <a:pt x="64" y="298"/>
                  </a:cubicBezTo>
                  <a:cubicBezTo>
                    <a:pt x="128" y="298"/>
                    <a:pt x="128" y="298"/>
                    <a:pt x="128" y="298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298"/>
                  </a:lnTo>
                  <a:close/>
                  <a:moveTo>
                    <a:pt x="214" y="106"/>
                  </a:moveTo>
                  <a:cubicBezTo>
                    <a:pt x="150" y="106"/>
                    <a:pt x="150" y="106"/>
                    <a:pt x="150" y="106"/>
                  </a:cubicBezTo>
                  <a:cubicBezTo>
                    <a:pt x="150" y="298"/>
                    <a:pt x="150" y="298"/>
                    <a:pt x="150" y="298"/>
                  </a:cubicBezTo>
                  <a:cubicBezTo>
                    <a:pt x="171" y="298"/>
                    <a:pt x="171" y="298"/>
                    <a:pt x="171" y="298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0"/>
                    <a:pt x="176" y="256"/>
                    <a:pt x="182" y="256"/>
                  </a:cubicBezTo>
                  <a:cubicBezTo>
                    <a:pt x="188" y="256"/>
                    <a:pt x="192" y="260"/>
                    <a:pt x="192" y="266"/>
                  </a:cubicBezTo>
                  <a:cubicBezTo>
                    <a:pt x="192" y="298"/>
                    <a:pt x="192" y="298"/>
                    <a:pt x="192" y="298"/>
                  </a:cubicBezTo>
                  <a:cubicBezTo>
                    <a:pt x="214" y="298"/>
                    <a:pt x="214" y="298"/>
                    <a:pt x="214" y="298"/>
                  </a:cubicBezTo>
                  <a:lnTo>
                    <a:pt x="214" y="10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/>
            <a:lstStyle>
              <a:defPPr>
                <a:defRPr lang="cs-CZ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Times New Roman" panose="02020603050405020304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08" name="Freeform 885">
              <a:extLst>
                <a:ext uri="{FF2B5EF4-FFF2-40B4-BE49-F238E27FC236}">
                  <a16:creationId xmlns:a16="http://schemas.microsoft.com/office/drawing/2014/main" id="{51F516F2-C453-4120-874D-C6A3754B36B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64270" y="4451588"/>
              <a:ext cx="238093" cy="288000"/>
            </a:xfrm>
            <a:custGeom>
              <a:avLst/>
              <a:gdLst>
                <a:gd name="T0" fmla="*/ 234 w 256"/>
                <a:gd name="T1" fmla="*/ 171 h 310"/>
                <a:gd name="T2" fmla="*/ 208 w 256"/>
                <a:gd name="T3" fmla="*/ 160 h 310"/>
                <a:gd name="T4" fmla="*/ 200 w 256"/>
                <a:gd name="T5" fmla="*/ 133 h 310"/>
                <a:gd name="T6" fmla="*/ 96 w 256"/>
                <a:gd name="T7" fmla="*/ 107 h 310"/>
                <a:gd name="T8" fmla="*/ 53 w 256"/>
                <a:gd name="T9" fmla="*/ 136 h 310"/>
                <a:gd name="T10" fmla="*/ 32 w 256"/>
                <a:gd name="T11" fmla="*/ 160 h 310"/>
                <a:gd name="T12" fmla="*/ 25 w 256"/>
                <a:gd name="T13" fmla="*/ 179 h 310"/>
                <a:gd name="T14" fmla="*/ 0 w 256"/>
                <a:gd name="T15" fmla="*/ 245 h 310"/>
                <a:gd name="T16" fmla="*/ 10 w 256"/>
                <a:gd name="T17" fmla="*/ 265 h 310"/>
                <a:gd name="T18" fmla="*/ 21 w 256"/>
                <a:gd name="T19" fmla="*/ 310 h 310"/>
                <a:gd name="T20" fmla="*/ 74 w 256"/>
                <a:gd name="T21" fmla="*/ 299 h 310"/>
                <a:gd name="T22" fmla="*/ 128 w 256"/>
                <a:gd name="T23" fmla="*/ 288 h 310"/>
                <a:gd name="T24" fmla="*/ 181 w 256"/>
                <a:gd name="T25" fmla="*/ 299 h 310"/>
                <a:gd name="T26" fmla="*/ 234 w 256"/>
                <a:gd name="T27" fmla="*/ 310 h 310"/>
                <a:gd name="T28" fmla="*/ 245 w 256"/>
                <a:gd name="T29" fmla="*/ 265 h 310"/>
                <a:gd name="T30" fmla="*/ 256 w 256"/>
                <a:gd name="T31" fmla="*/ 245 h 310"/>
                <a:gd name="T32" fmla="*/ 230 w 256"/>
                <a:gd name="T33" fmla="*/ 179 h 310"/>
                <a:gd name="T34" fmla="*/ 160 w 256"/>
                <a:gd name="T35" fmla="*/ 128 h 310"/>
                <a:gd name="T36" fmla="*/ 189 w 256"/>
                <a:gd name="T37" fmla="*/ 171 h 310"/>
                <a:gd name="T38" fmla="*/ 73 w 256"/>
                <a:gd name="T39" fmla="*/ 144 h 310"/>
                <a:gd name="T40" fmla="*/ 53 w 256"/>
                <a:gd name="T41" fmla="*/ 288 h 310"/>
                <a:gd name="T42" fmla="*/ 32 w 256"/>
                <a:gd name="T43" fmla="*/ 277 h 310"/>
                <a:gd name="T44" fmla="*/ 53 w 256"/>
                <a:gd name="T45" fmla="*/ 288 h 310"/>
                <a:gd name="T46" fmla="*/ 21 w 256"/>
                <a:gd name="T47" fmla="*/ 224 h 310"/>
                <a:gd name="T48" fmla="*/ 202 w 256"/>
                <a:gd name="T49" fmla="*/ 192 h 310"/>
                <a:gd name="T50" fmla="*/ 234 w 256"/>
                <a:gd name="T51" fmla="*/ 245 h 310"/>
                <a:gd name="T52" fmla="*/ 21 w 256"/>
                <a:gd name="T53" fmla="*/ 245 h 310"/>
                <a:gd name="T54" fmla="*/ 202 w 256"/>
                <a:gd name="T55" fmla="*/ 288 h 310"/>
                <a:gd name="T56" fmla="*/ 224 w 256"/>
                <a:gd name="T57" fmla="*/ 277 h 310"/>
                <a:gd name="T58" fmla="*/ 160 w 256"/>
                <a:gd name="T59" fmla="*/ 224 h 310"/>
                <a:gd name="T60" fmla="*/ 106 w 256"/>
                <a:gd name="T61" fmla="*/ 235 h 310"/>
                <a:gd name="T62" fmla="*/ 106 w 256"/>
                <a:gd name="T63" fmla="*/ 214 h 310"/>
                <a:gd name="T64" fmla="*/ 160 w 256"/>
                <a:gd name="T65" fmla="*/ 224 h 310"/>
                <a:gd name="T66" fmla="*/ 57 w 256"/>
                <a:gd name="T67" fmla="*/ 239 h 310"/>
                <a:gd name="T68" fmla="*/ 57 w 256"/>
                <a:gd name="T69" fmla="*/ 218 h 310"/>
                <a:gd name="T70" fmla="*/ 208 w 256"/>
                <a:gd name="T71" fmla="*/ 228 h 310"/>
                <a:gd name="T72" fmla="*/ 188 w 256"/>
                <a:gd name="T73" fmla="*/ 228 h 310"/>
                <a:gd name="T74" fmla="*/ 208 w 256"/>
                <a:gd name="T75" fmla="*/ 228 h 310"/>
                <a:gd name="T76" fmla="*/ 13 w 256"/>
                <a:gd name="T77" fmla="*/ 55 h 310"/>
                <a:gd name="T78" fmla="*/ 242 w 256"/>
                <a:gd name="T79" fmla="*/ 55 h 310"/>
                <a:gd name="T80" fmla="*/ 226 w 256"/>
                <a:gd name="T81" fmla="*/ 69 h 310"/>
                <a:gd name="T82" fmla="*/ 29 w 256"/>
                <a:gd name="T83" fmla="*/ 69 h 310"/>
                <a:gd name="T84" fmla="*/ 14 w 256"/>
                <a:gd name="T85" fmla="*/ 70 h 310"/>
                <a:gd name="T86" fmla="*/ 211 w 256"/>
                <a:gd name="T87" fmla="*/ 104 h 310"/>
                <a:gd name="T88" fmla="*/ 128 w 256"/>
                <a:gd name="T89" fmla="*/ 70 h 310"/>
                <a:gd name="T90" fmla="*/ 51 w 256"/>
                <a:gd name="T91" fmla="*/ 107 h 310"/>
                <a:gd name="T92" fmla="*/ 43 w 256"/>
                <a:gd name="T93" fmla="*/ 89 h 310"/>
                <a:gd name="T94" fmla="*/ 212 w 256"/>
                <a:gd name="T95" fmla="*/ 89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6" h="310">
                  <a:moveTo>
                    <a:pt x="230" y="179"/>
                  </a:moveTo>
                  <a:cubicBezTo>
                    <a:pt x="233" y="177"/>
                    <a:pt x="234" y="175"/>
                    <a:pt x="234" y="171"/>
                  </a:cubicBezTo>
                  <a:cubicBezTo>
                    <a:pt x="234" y="165"/>
                    <a:pt x="230" y="160"/>
                    <a:pt x="224" y="160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35"/>
                    <a:pt x="201" y="134"/>
                    <a:pt x="200" y="133"/>
                  </a:cubicBezTo>
                  <a:cubicBezTo>
                    <a:pt x="198" y="130"/>
                    <a:pt x="180" y="107"/>
                    <a:pt x="160" y="107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75" y="107"/>
                    <a:pt x="57" y="130"/>
                    <a:pt x="55" y="133"/>
                  </a:cubicBezTo>
                  <a:cubicBezTo>
                    <a:pt x="54" y="134"/>
                    <a:pt x="54" y="135"/>
                    <a:pt x="53" y="136"/>
                  </a:cubicBezTo>
                  <a:cubicBezTo>
                    <a:pt x="47" y="160"/>
                    <a:pt x="47" y="160"/>
                    <a:pt x="47" y="160"/>
                  </a:cubicBezTo>
                  <a:cubicBezTo>
                    <a:pt x="32" y="160"/>
                    <a:pt x="32" y="160"/>
                    <a:pt x="32" y="160"/>
                  </a:cubicBezTo>
                  <a:cubicBezTo>
                    <a:pt x="26" y="160"/>
                    <a:pt x="21" y="165"/>
                    <a:pt x="21" y="171"/>
                  </a:cubicBezTo>
                  <a:cubicBezTo>
                    <a:pt x="21" y="175"/>
                    <a:pt x="23" y="177"/>
                    <a:pt x="25" y="179"/>
                  </a:cubicBezTo>
                  <a:cubicBezTo>
                    <a:pt x="10" y="189"/>
                    <a:pt x="0" y="206"/>
                    <a:pt x="0" y="224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48"/>
                    <a:pt x="0" y="255"/>
                    <a:pt x="6" y="262"/>
                  </a:cubicBezTo>
                  <a:cubicBezTo>
                    <a:pt x="8" y="263"/>
                    <a:pt x="9" y="264"/>
                    <a:pt x="10" y="265"/>
                  </a:cubicBezTo>
                  <a:cubicBezTo>
                    <a:pt x="10" y="299"/>
                    <a:pt x="10" y="299"/>
                    <a:pt x="10" y="299"/>
                  </a:cubicBezTo>
                  <a:cubicBezTo>
                    <a:pt x="10" y="305"/>
                    <a:pt x="15" y="310"/>
                    <a:pt x="21" y="310"/>
                  </a:cubicBezTo>
                  <a:cubicBezTo>
                    <a:pt x="64" y="310"/>
                    <a:pt x="64" y="310"/>
                    <a:pt x="64" y="310"/>
                  </a:cubicBezTo>
                  <a:cubicBezTo>
                    <a:pt x="70" y="310"/>
                    <a:pt x="74" y="305"/>
                    <a:pt x="74" y="299"/>
                  </a:cubicBezTo>
                  <a:cubicBezTo>
                    <a:pt x="74" y="286"/>
                    <a:pt x="74" y="286"/>
                    <a:pt x="74" y="286"/>
                  </a:cubicBezTo>
                  <a:cubicBezTo>
                    <a:pt x="90" y="287"/>
                    <a:pt x="107" y="288"/>
                    <a:pt x="128" y="288"/>
                  </a:cubicBezTo>
                  <a:cubicBezTo>
                    <a:pt x="148" y="288"/>
                    <a:pt x="165" y="287"/>
                    <a:pt x="181" y="286"/>
                  </a:cubicBezTo>
                  <a:cubicBezTo>
                    <a:pt x="181" y="299"/>
                    <a:pt x="181" y="299"/>
                    <a:pt x="181" y="299"/>
                  </a:cubicBezTo>
                  <a:cubicBezTo>
                    <a:pt x="181" y="305"/>
                    <a:pt x="186" y="310"/>
                    <a:pt x="192" y="310"/>
                  </a:cubicBezTo>
                  <a:cubicBezTo>
                    <a:pt x="234" y="310"/>
                    <a:pt x="234" y="310"/>
                    <a:pt x="234" y="310"/>
                  </a:cubicBezTo>
                  <a:cubicBezTo>
                    <a:pt x="240" y="310"/>
                    <a:pt x="245" y="305"/>
                    <a:pt x="245" y="299"/>
                  </a:cubicBezTo>
                  <a:cubicBezTo>
                    <a:pt x="245" y="265"/>
                    <a:pt x="245" y="265"/>
                    <a:pt x="245" y="265"/>
                  </a:cubicBezTo>
                  <a:cubicBezTo>
                    <a:pt x="246" y="264"/>
                    <a:pt x="248" y="263"/>
                    <a:pt x="249" y="262"/>
                  </a:cubicBezTo>
                  <a:cubicBezTo>
                    <a:pt x="255" y="255"/>
                    <a:pt x="256" y="248"/>
                    <a:pt x="256" y="245"/>
                  </a:cubicBezTo>
                  <a:cubicBezTo>
                    <a:pt x="256" y="224"/>
                    <a:pt x="256" y="224"/>
                    <a:pt x="256" y="224"/>
                  </a:cubicBezTo>
                  <a:cubicBezTo>
                    <a:pt x="256" y="206"/>
                    <a:pt x="245" y="189"/>
                    <a:pt x="230" y="179"/>
                  </a:cubicBezTo>
                  <a:close/>
                  <a:moveTo>
                    <a:pt x="96" y="128"/>
                  </a:moveTo>
                  <a:cubicBezTo>
                    <a:pt x="160" y="128"/>
                    <a:pt x="160" y="128"/>
                    <a:pt x="160" y="128"/>
                  </a:cubicBezTo>
                  <a:cubicBezTo>
                    <a:pt x="166" y="128"/>
                    <a:pt x="176" y="137"/>
                    <a:pt x="182" y="144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67" y="171"/>
                    <a:pt x="67" y="171"/>
                    <a:pt x="67" y="171"/>
                  </a:cubicBezTo>
                  <a:cubicBezTo>
                    <a:pt x="73" y="144"/>
                    <a:pt x="73" y="144"/>
                    <a:pt x="73" y="144"/>
                  </a:cubicBezTo>
                  <a:cubicBezTo>
                    <a:pt x="79" y="137"/>
                    <a:pt x="89" y="128"/>
                    <a:pt x="96" y="128"/>
                  </a:cubicBezTo>
                  <a:close/>
                  <a:moveTo>
                    <a:pt x="53" y="288"/>
                  </a:moveTo>
                  <a:cubicBezTo>
                    <a:pt x="32" y="288"/>
                    <a:pt x="32" y="288"/>
                    <a:pt x="32" y="288"/>
                  </a:cubicBezTo>
                  <a:cubicBezTo>
                    <a:pt x="32" y="277"/>
                    <a:pt x="32" y="277"/>
                    <a:pt x="32" y="277"/>
                  </a:cubicBezTo>
                  <a:cubicBezTo>
                    <a:pt x="38" y="279"/>
                    <a:pt x="45" y="281"/>
                    <a:pt x="53" y="282"/>
                  </a:cubicBezTo>
                  <a:lnTo>
                    <a:pt x="53" y="288"/>
                  </a:lnTo>
                  <a:close/>
                  <a:moveTo>
                    <a:pt x="21" y="245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208"/>
                    <a:pt x="37" y="192"/>
                    <a:pt x="53" y="192"/>
                  </a:cubicBezTo>
                  <a:cubicBezTo>
                    <a:pt x="202" y="192"/>
                    <a:pt x="202" y="192"/>
                    <a:pt x="202" y="192"/>
                  </a:cubicBezTo>
                  <a:cubicBezTo>
                    <a:pt x="219" y="192"/>
                    <a:pt x="234" y="208"/>
                    <a:pt x="234" y="224"/>
                  </a:cubicBezTo>
                  <a:cubicBezTo>
                    <a:pt x="234" y="245"/>
                    <a:pt x="234" y="245"/>
                    <a:pt x="234" y="245"/>
                  </a:cubicBezTo>
                  <a:cubicBezTo>
                    <a:pt x="233" y="247"/>
                    <a:pt x="222" y="267"/>
                    <a:pt x="128" y="267"/>
                  </a:cubicBezTo>
                  <a:cubicBezTo>
                    <a:pt x="34" y="267"/>
                    <a:pt x="22" y="247"/>
                    <a:pt x="21" y="245"/>
                  </a:cubicBezTo>
                  <a:close/>
                  <a:moveTo>
                    <a:pt x="224" y="288"/>
                  </a:moveTo>
                  <a:cubicBezTo>
                    <a:pt x="202" y="288"/>
                    <a:pt x="202" y="288"/>
                    <a:pt x="202" y="288"/>
                  </a:cubicBezTo>
                  <a:cubicBezTo>
                    <a:pt x="202" y="282"/>
                    <a:pt x="202" y="282"/>
                    <a:pt x="202" y="282"/>
                  </a:cubicBezTo>
                  <a:cubicBezTo>
                    <a:pt x="210" y="281"/>
                    <a:pt x="217" y="279"/>
                    <a:pt x="224" y="277"/>
                  </a:cubicBezTo>
                  <a:lnTo>
                    <a:pt x="224" y="288"/>
                  </a:lnTo>
                  <a:close/>
                  <a:moveTo>
                    <a:pt x="160" y="224"/>
                  </a:moveTo>
                  <a:cubicBezTo>
                    <a:pt x="160" y="230"/>
                    <a:pt x="155" y="235"/>
                    <a:pt x="149" y="235"/>
                  </a:cubicBezTo>
                  <a:cubicBezTo>
                    <a:pt x="106" y="235"/>
                    <a:pt x="106" y="235"/>
                    <a:pt x="106" y="235"/>
                  </a:cubicBezTo>
                  <a:cubicBezTo>
                    <a:pt x="100" y="235"/>
                    <a:pt x="96" y="230"/>
                    <a:pt x="96" y="224"/>
                  </a:cubicBezTo>
                  <a:cubicBezTo>
                    <a:pt x="96" y="218"/>
                    <a:pt x="100" y="214"/>
                    <a:pt x="106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55" y="214"/>
                    <a:pt x="160" y="218"/>
                    <a:pt x="160" y="224"/>
                  </a:cubicBezTo>
                  <a:close/>
                  <a:moveTo>
                    <a:pt x="67" y="228"/>
                  </a:moveTo>
                  <a:cubicBezTo>
                    <a:pt x="67" y="234"/>
                    <a:pt x="63" y="239"/>
                    <a:pt x="57" y="239"/>
                  </a:cubicBezTo>
                  <a:cubicBezTo>
                    <a:pt x="52" y="239"/>
                    <a:pt x="47" y="234"/>
                    <a:pt x="47" y="228"/>
                  </a:cubicBezTo>
                  <a:cubicBezTo>
                    <a:pt x="47" y="223"/>
                    <a:pt x="52" y="218"/>
                    <a:pt x="57" y="218"/>
                  </a:cubicBezTo>
                  <a:cubicBezTo>
                    <a:pt x="63" y="218"/>
                    <a:pt x="67" y="223"/>
                    <a:pt x="67" y="228"/>
                  </a:cubicBezTo>
                  <a:close/>
                  <a:moveTo>
                    <a:pt x="208" y="228"/>
                  </a:moveTo>
                  <a:cubicBezTo>
                    <a:pt x="208" y="234"/>
                    <a:pt x="204" y="239"/>
                    <a:pt x="198" y="239"/>
                  </a:cubicBezTo>
                  <a:cubicBezTo>
                    <a:pt x="193" y="239"/>
                    <a:pt x="188" y="234"/>
                    <a:pt x="188" y="228"/>
                  </a:cubicBezTo>
                  <a:cubicBezTo>
                    <a:pt x="188" y="223"/>
                    <a:pt x="193" y="218"/>
                    <a:pt x="198" y="218"/>
                  </a:cubicBezTo>
                  <a:cubicBezTo>
                    <a:pt x="204" y="218"/>
                    <a:pt x="208" y="223"/>
                    <a:pt x="208" y="228"/>
                  </a:cubicBezTo>
                  <a:close/>
                  <a:moveTo>
                    <a:pt x="14" y="70"/>
                  </a:moveTo>
                  <a:cubicBezTo>
                    <a:pt x="10" y="66"/>
                    <a:pt x="9" y="60"/>
                    <a:pt x="13" y="55"/>
                  </a:cubicBezTo>
                  <a:cubicBezTo>
                    <a:pt x="43" y="20"/>
                    <a:pt x="84" y="0"/>
                    <a:pt x="128" y="0"/>
                  </a:cubicBezTo>
                  <a:cubicBezTo>
                    <a:pt x="171" y="0"/>
                    <a:pt x="212" y="20"/>
                    <a:pt x="242" y="55"/>
                  </a:cubicBezTo>
                  <a:cubicBezTo>
                    <a:pt x="246" y="60"/>
                    <a:pt x="246" y="66"/>
                    <a:pt x="241" y="70"/>
                  </a:cubicBezTo>
                  <a:cubicBezTo>
                    <a:pt x="237" y="74"/>
                    <a:pt x="230" y="74"/>
                    <a:pt x="226" y="69"/>
                  </a:cubicBezTo>
                  <a:cubicBezTo>
                    <a:pt x="200" y="39"/>
                    <a:pt x="165" y="22"/>
                    <a:pt x="128" y="22"/>
                  </a:cubicBezTo>
                  <a:cubicBezTo>
                    <a:pt x="90" y="22"/>
                    <a:pt x="55" y="39"/>
                    <a:pt x="29" y="69"/>
                  </a:cubicBezTo>
                  <a:cubicBezTo>
                    <a:pt x="27" y="72"/>
                    <a:pt x="24" y="73"/>
                    <a:pt x="21" y="73"/>
                  </a:cubicBezTo>
                  <a:cubicBezTo>
                    <a:pt x="19" y="73"/>
                    <a:pt x="16" y="72"/>
                    <a:pt x="14" y="70"/>
                  </a:cubicBezTo>
                  <a:close/>
                  <a:moveTo>
                    <a:pt x="212" y="89"/>
                  </a:moveTo>
                  <a:cubicBezTo>
                    <a:pt x="216" y="94"/>
                    <a:pt x="215" y="101"/>
                    <a:pt x="211" y="104"/>
                  </a:cubicBezTo>
                  <a:cubicBezTo>
                    <a:pt x="206" y="108"/>
                    <a:pt x="200" y="108"/>
                    <a:pt x="196" y="103"/>
                  </a:cubicBezTo>
                  <a:cubicBezTo>
                    <a:pt x="178" y="82"/>
                    <a:pt x="153" y="70"/>
                    <a:pt x="128" y="70"/>
                  </a:cubicBezTo>
                  <a:cubicBezTo>
                    <a:pt x="102" y="70"/>
                    <a:pt x="78" y="82"/>
                    <a:pt x="60" y="103"/>
                  </a:cubicBezTo>
                  <a:cubicBezTo>
                    <a:pt x="57" y="106"/>
                    <a:pt x="54" y="107"/>
                    <a:pt x="51" y="107"/>
                  </a:cubicBezTo>
                  <a:cubicBezTo>
                    <a:pt x="49" y="107"/>
                    <a:pt x="47" y="106"/>
                    <a:pt x="45" y="104"/>
                  </a:cubicBezTo>
                  <a:cubicBezTo>
                    <a:pt x="40" y="101"/>
                    <a:pt x="40" y="94"/>
                    <a:pt x="43" y="89"/>
                  </a:cubicBezTo>
                  <a:cubicBezTo>
                    <a:pt x="66" y="63"/>
                    <a:pt x="96" y="49"/>
                    <a:pt x="128" y="49"/>
                  </a:cubicBezTo>
                  <a:cubicBezTo>
                    <a:pt x="160" y="49"/>
                    <a:pt x="190" y="63"/>
                    <a:pt x="212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309" name="Freeform 460">
              <a:extLst>
                <a:ext uri="{FF2B5EF4-FFF2-40B4-BE49-F238E27FC236}">
                  <a16:creationId xmlns:a16="http://schemas.microsoft.com/office/drawing/2014/main" id="{29C3FD26-B9FB-B326-E329-503AD6E402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75578" y="4531047"/>
              <a:ext cx="180000" cy="216000"/>
            </a:xfrm>
            <a:custGeom>
              <a:avLst/>
              <a:gdLst>
                <a:gd name="T0" fmla="*/ 224 w 234"/>
                <a:gd name="T1" fmla="*/ 0 h 299"/>
                <a:gd name="T2" fmla="*/ 10 w 234"/>
                <a:gd name="T3" fmla="*/ 0 h 299"/>
                <a:gd name="T4" fmla="*/ 0 w 234"/>
                <a:gd name="T5" fmla="*/ 11 h 299"/>
                <a:gd name="T6" fmla="*/ 0 w 234"/>
                <a:gd name="T7" fmla="*/ 288 h 299"/>
                <a:gd name="T8" fmla="*/ 10 w 234"/>
                <a:gd name="T9" fmla="*/ 299 h 299"/>
                <a:gd name="T10" fmla="*/ 224 w 234"/>
                <a:gd name="T11" fmla="*/ 299 h 299"/>
                <a:gd name="T12" fmla="*/ 234 w 234"/>
                <a:gd name="T13" fmla="*/ 288 h 299"/>
                <a:gd name="T14" fmla="*/ 234 w 234"/>
                <a:gd name="T15" fmla="*/ 11 h 299"/>
                <a:gd name="T16" fmla="*/ 224 w 234"/>
                <a:gd name="T17" fmla="*/ 0 h 299"/>
                <a:gd name="T18" fmla="*/ 213 w 234"/>
                <a:gd name="T19" fmla="*/ 277 h 299"/>
                <a:gd name="T20" fmla="*/ 21 w 234"/>
                <a:gd name="T21" fmla="*/ 277 h 299"/>
                <a:gd name="T22" fmla="*/ 21 w 234"/>
                <a:gd name="T23" fmla="*/ 21 h 299"/>
                <a:gd name="T24" fmla="*/ 213 w 234"/>
                <a:gd name="T25" fmla="*/ 21 h 299"/>
                <a:gd name="T26" fmla="*/ 213 w 234"/>
                <a:gd name="T27" fmla="*/ 277 h 299"/>
                <a:gd name="T28" fmla="*/ 128 w 234"/>
                <a:gd name="T29" fmla="*/ 245 h 299"/>
                <a:gd name="T30" fmla="*/ 117 w 234"/>
                <a:gd name="T31" fmla="*/ 256 h 299"/>
                <a:gd name="T32" fmla="*/ 106 w 234"/>
                <a:gd name="T33" fmla="*/ 245 h 299"/>
                <a:gd name="T34" fmla="*/ 117 w 234"/>
                <a:gd name="T35" fmla="*/ 235 h 299"/>
                <a:gd name="T36" fmla="*/ 128 w 234"/>
                <a:gd name="T37" fmla="*/ 245 h 299"/>
                <a:gd name="T38" fmla="*/ 42 w 234"/>
                <a:gd name="T39" fmla="*/ 213 h 299"/>
                <a:gd name="T40" fmla="*/ 192 w 234"/>
                <a:gd name="T41" fmla="*/ 213 h 299"/>
                <a:gd name="T42" fmla="*/ 202 w 234"/>
                <a:gd name="T43" fmla="*/ 203 h 299"/>
                <a:gd name="T44" fmla="*/ 202 w 234"/>
                <a:gd name="T45" fmla="*/ 43 h 299"/>
                <a:gd name="T46" fmla="*/ 192 w 234"/>
                <a:gd name="T47" fmla="*/ 32 h 299"/>
                <a:gd name="T48" fmla="*/ 42 w 234"/>
                <a:gd name="T49" fmla="*/ 32 h 299"/>
                <a:gd name="T50" fmla="*/ 32 w 234"/>
                <a:gd name="T51" fmla="*/ 43 h 299"/>
                <a:gd name="T52" fmla="*/ 32 w 234"/>
                <a:gd name="T53" fmla="*/ 203 h 299"/>
                <a:gd name="T54" fmla="*/ 42 w 234"/>
                <a:gd name="T55" fmla="*/ 213 h 299"/>
                <a:gd name="T56" fmla="*/ 53 w 234"/>
                <a:gd name="T57" fmla="*/ 53 h 299"/>
                <a:gd name="T58" fmla="*/ 181 w 234"/>
                <a:gd name="T59" fmla="*/ 53 h 299"/>
                <a:gd name="T60" fmla="*/ 181 w 234"/>
                <a:gd name="T61" fmla="*/ 192 h 299"/>
                <a:gd name="T62" fmla="*/ 53 w 234"/>
                <a:gd name="T63" fmla="*/ 192 h 299"/>
                <a:gd name="T64" fmla="*/ 53 w 234"/>
                <a:gd name="T65" fmla="*/ 5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4" h="299">
                  <a:moveTo>
                    <a:pt x="224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4" y="299"/>
                    <a:pt x="10" y="299"/>
                  </a:cubicBezTo>
                  <a:cubicBezTo>
                    <a:pt x="224" y="299"/>
                    <a:pt x="224" y="299"/>
                    <a:pt x="224" y="299"/>
                  </a:cubicBezTo>
                  <a:cubicBezTo>
                    <a:pt x="230" y="299"/>
                    <a:pt x="234" y="294"/>
                    <a:pt x="234" y="288"/>
                  </a:cubicBezTo>
                  <a:cubicBezTo>
                    <a:pt x="234" y="11"/>
                    <a:pt x="234" y="11"/>
                    <a:pt x="234" y="11"/>
                  </a:cubicBezTo>
                  <a:cubicBezTo>
                    <a:pt x="234" y="5"/>
                    <a:pt x="230" y="0"/>
                    <a:pt x="224" y="0"/>
                  </a:cubicBezTo>
                  <a:close/>
                  <a:moveTo>
                    <a:pt x="213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3" y="21"/>
                    <a:pt x="213" y="21"/>
                    <a:pt x="213" y="21"/>
                  </a:cubicBezTo>
                  <a:lnTo>
                    <a:pt x="213" y="277"/>
                  </a:lnTo>
                  <a:close/>
                  <a:moveTo>
                    <a:pt x="128" y="245"/>
                  </a:moveTo>
                  <a:cubicBezTo>
                    <a:pt x="128" y="251"/>
                    <a:pt x="123" y="256"/>
                    <a:pt x="117" y="256"/>
                  </a:cubicBezTo>
                  <a:cubicBezTo>
                    <a:pt x="111" y="256"/>
                    <a:pt x="106" y="251"/>
                    <a:pt x="106" y="245"/>
                  </a:cubicBezTo>
                  <a:cubicBezTo>
                    <a:pt x="106" y="239"/>
                    <a:pt x="111" y="235"/>
                    <a:pt x="117" y="235"/>
                  </a:cubicBezTo>
                  <a:cubicBezTo>
                    <a:pt x="123" y="235"/>
                    <a:pt x="128" y="239"/>
                    <a:pt x="128" y="245"/>
                  </a:cubicBezTo>
                  <a:close/>
                  <a:moveTo>
                    <a:pt x="42" y="213"/>
                  </a:moveTo>
                  <a:cubicBezTo>
                    <a:pt x="192" y="213"/>
                    <a:pt x="192" y="213"/>
                    <a:pt x="192" y="213"/>
                  </a:cubicBezTo>
                  <a:cubicBezTo>
                    <a:pt x="198" y="213"/>
                    <a:pt x="202" y="209"/>
                    <a:pt x="202" y="203"/>
                  </a:cubicBezTo>
                  <a:cubicBezTo>
                    <a:pt x="202" y="43"/>
                    <a:pt x="202" y="43"/>
                    <a:pt x="202" y="43"/>
                  </a:cubicBezTo>
                  <a:cubicBezTo>
                    <a:pt x="202" y="37"/>
                    <a:pt x="198" y="32"/>
                    <a:pt x="19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36" y="32"/>
                    <a:pt x="32" y="37"/>
                    <a:pt x="32" y="43"/>
                  </a:cubicBezTo>
                  <a:cubicBezTo>
                    <a:pt x="32" y="203"/>
                    <a:pt x="32" y="203"/>
                    <a:pt x="32" y="203"/>
                  </a:cubicBezTo>
                  <a:cubicBezTo>
                    <a:pt x="32" y="209"/>
                    <a:pt x="36" y="213"/>
                    <a:pt x="42" y="213"/>
                  </a:cubicBezTo>
                  <a:close/>
                  <a:moveTo>
                    <a:pt x="53" y="53"/>
                  </a:moveTo>
                  <a:cubicBezTo>
                    <a:pt x="181" y="53"/>
                    <a:pt x="181" y="53"/>
                    <a:pt x="181" y="53"/>
                  </a:cubicBezTo>
                  <a:cubicBezTo>
                    <a:pt x="181" y="192"/>
                    <a:pt x="181" y="192"/>
                    <a:pt x="181" y="192"/>
                  </a:cubicBezTo>
                  <a:cubicBezTo>
                    <a:pt x="53" y="192"/>
                    <a:pt x="53" y="192"/>
                    <a:pt x="53" y="192"/>
                  </a:cubicBezTo>
                  <a:lnTo>
                    <a:pt x="5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</p:grpSp>
      <p:sp>
        <p:nvSpPr>
          <p:cNvPr id="318" name="Oval 317">
            <a:extLst>
              <a:ext uri="{FF2B5EF4-FFF2-40B4-BE49-F238E27FC236}">
                <a16:creationId xmlns:a16="http://schemas.microsoft.com/office/drawing/2014/main" id="{D9B964C4-294C-CD4F-42D4-50FB4BF05673}"/>
              </a:ext>
            </a:extLst>
          </p:cNvPr>
          <p:cNvSpPr/>
          <p:nvPr/>
        </p:nvSpPr>
        <p:spPr>
          <a:xfrm>
            <a:off x="3763644" y="2587401"/>
            <a:ext cx="216000" cy="216000"/>
          </a:xfrm>
          <a:prstGeom prst="ellipse">
            <a:avLst/>
          </a:prstGeom>
          <a:solidFill>
            <a:srgbClr val="75787B"/>
          </a:solidFill>
          <a:ln w="127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19" name="Rectangle: Rounded Corners 318">
            <a:extLst>
              <a:ext uri="{FF2B5EF4-FFF2-40B4-BE49-F238E27FC236}">
                <a16:creationId xmlns:a16="http://schemas.microsoft.com/office/drawing/2014/main" id="{34D4A311-8AA4-9C31-C76D-46AE4CE0B222}"/>
              </a:ext>
            </a:extLst>
          </p:cNvPr>
          <p:cNvSpPr/>
          <p:nvPr/>
        </p:nvSpPr>
        <p:spPr bwMode="gray">
          <a:xfrm>
            <a:off x="602374" y="1078502"/>
            <a:ext cx="6120000" cy="2232000"/>
          </a:xfrm>
          <a:prstGeom prst="roundRect">
            <a:avLst>
              <a:gd name="adj" fmla="val 10460"/>
            </a:avLst>
          </a:prstGeom>
          <a:noFill/>
          <a:ln w="9525" algn="ctr">
            <a:solidFill>
              <a:sysClr val="windowText" lastClr="000000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cs-CZ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</a:endParaRPr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71ACE9B5-960A-FDE6-7D6C-E2F8C96CB178}"/>
              </a:ext>
            </a:extLst>
          </p:cNvPr>
          <p:cNvSpPr/>
          <p:nvPr/>
        </p:nvSpPr>
        <p:spPr>
          <a:xfrm>
            <a:off x="768149" y="2448812"/>
            <a:ext cx="888264" cy="250162"/>
          </a:xfrm>
          <a:prstGeom prst="rect">
            <a:avLst/>
          </a:prstGeom>
          <a:noFill/>
        </p:spPr>
        <p:txBody>
          <a:bodyPr lIns="0" tIns="36000" rIns="0" bIns="36000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>
                <a:solidFill>
                  <a:srgbClr val="0097A9"/>
                </a:solidFill>
                <a:cs typeface="Calibri" panose="020F0502020204030204" pitchFamily="34" charset="0"/>
              </a:rPr>
              <a:t>Dodavatelé Žadatele</a:t>
            </a:r>
          </a:p>
        </p:txBody>
      </p:sp>
      <p:sp>
        <p:nvSpPr>
          <p:cNvPr id="321" name="Freeform 761">
            <a:extLst>
              <a:ext uri="{FF2B5EF4-FFF2-40B4-BE49-F238E27FC236}">
                <a16:creationId xmlns:a16="http://schemas.microsoft.com/office/drawing/2014/main" id="{78FD9412-85AC-5FC4-B2FE-734FC8B4D560}"/>
              </a:ext>
            </a:extLst>
          </p:cNvPr>
          <p:cNvSpPr>
            <a:spLocks noEditPoints="1"/>
          </p:cNvSpPr>
          <p:nvPr/>
        </p:nvSpPr>
        <p:spPr bwMode="auto">
          <a:xfrm>
            <a:off x="836470" y="2189675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322" name="Freeform 761">
            <a:extLst>
              <a:ext uri="{FF2B5EF4-FFF2-40B4-BE49-F238E27FC236}">
                <a16:creationId xmlns:a16="http://schemas.microsoft.com/office/drawing/2014/main" id="{10CB7EA2-A545-D539-1644-356EC0288DA1}"/>
              </a:ext>
            </a:extLst>
          </p:cNvPr>
          <p:cNvSpPr>
            <a:spLocks noEditPoints="1"/>
          </p:cNvSpPr>
          <p:nvPr/>
        </p:nvSpPr>
        <p:spPr bwMode="auto">
          <a:xfrm>
            <a:off x="1059208" y="2195357"/>
            <a:ext cx="184839" cy="252000"/>
          </a:xfrm>
          <a:custGeom>
            <a:avLst/>
            <a:gdLst>
              <a:gd name="T0" fmla="*/ 245 w 256"/>
              <a:gd name="T1" fmla="*/ 320 h 320"/>
              <a:gd name="T2" fmla="*/ 234 w 256"/>
              <a:gd name="T3" fmla="*/ 309 h 320"/>
              <a:gd name="T4" fmla="*/ 234 w 256"/>
              <a:gd name="T5" fmla="*/ 213 h 320"/>
              <a:gd name="T6" fmla="*/ 192 w 256"/>
              <a:gd name="T7" fmla="*/ 170 h 320"/>
              <a:gd name="T8" fmla="*/ 64 w 256"/>
              <a:gd name="T9" fmla="*/ 170 h 320"/>
              <a:gd name="T10" fmla="*/ 21 w 256"/>
              <a:gd name="T11" fmla="*/ 213 h 320"/>
              <a:gd name="T12" fmla="*/ 21 w 256"/>
              <a:gd name="T13" fmla="*/ 309 h 320"/>
              <a:gd name="T14" fmla="*/ 10 w 256"/>
              <a:gd name="T15" fmla="*/ 320 h 320"/>
              <a:gd name="T16" fmla="*/ 0 w 256"/>
              <a:gd name="T17" fmla="*/ 309 h 320"/>
              <a:gd name="T18" fmla="*/ 0 w 256"/>
              <a:gd name="T19" fmla="*/ 213 h 320"/>
              <a:gd name="T20" fmla="*/ 64 w 256"/>
              <a:gd name="T21" fmla="*/ 149 h 320"/>
              <a:gd name="T22" fmla="*/ 192 w 256"/>
              <a:gd name="T23" fmla="*/ 149 h 320"/>
              <a:gd name="T24" fmla="*/ 256 w 256"/>
              <a:gd name="T25" fmla="*/ 213 h 320"/>
              <a:gd name="T26" fmla="*/ 256 w 256"/>
              <a:gd name="T27" fmla="*/ 309 h 320"/>
              <a:gd name="T28" fmla="*/ 245 w 256"/>
              <a:gd name="T29" fmla="*/ 320 h 320"/>
              <a:gd name="T30" fmla="*/ 192 w 256"/>
              <a:gd name="T31" fmla="*/ 64 h 320"/>
              <a:gd name="T32" fmla="*/ 128 w 256"/>
              <a:gd name="T33" fmla="*/ 0 h 320"/>
              <a:gd name="T34" fmla="*/ 64 w 256"/>
              <a:gd name="T35" fmla="*/ 64 h 320"/>
              <a:gd name="T36" fmla="*/ 128 w 256"/>
              <a:gd name="T37" fmla="*/ 128 h 320"/>
              <a:gd name="T38" fmla="*/ 192 w 256"/>
              <a:gd name="T39" fmla="*/ 64 h 320"/>
              <a:gd name="T40" fmla="*/ 170 w 256"/>
              <a:gd name="T41" fmla="*/ 64 h 320"/>
              <a:gd name="T42" fmla="*/ 128 w 256"/>
              <a:gd name="T43" fmla="*/ 106 h 320"/>
              <a:gd name="T44" fmla="*/ 85 w 256"/>
              <a:gd name="T45" fmla="*/ 64 h 320"/>
              <a:gd name="T46" fmla="*/ 128 w 256"/>
              <a:gd name="T47" fmla="*/ 21 h 320"/>
              <a:gd name="T48" fmla="*/ 170 w 256"/>
              <a:gd name="T49" fmla="*/ 64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6" h="320">
                <a:moveTo>
                  <a:pt x="245" y="320"/>
                </a:moveTo>
                <a:cubicBezTo>
                  <a:pt x="239" y="320"/>
                  <a:pt x="234" y="315"/>
                  <a:pt x="234" y="309"/>
                </a:cubicBezTo>
                <a:cubicBezTo>
                  <a:pt x="234" y="213"/>
                  <a:pt x="234" y="213"/>
                  <a:pt x="234" y="213"/>
                </a:cubicBezTo>
                <a:cubicBezTo>
                  <a:pt x="234" y="189"/>
                  <a:pt x="215" y="170"/>
                  <a:pt x="192" y="170"/>
                </a:cubicBezTo>
                <a:cubicBezTo>
                  <a:pt x="64" y="170"/>
                  <a:pt x="64" y="170"/>
                  <a:pt x="64" y="170"/>
                </a:cubicBezTo>
                <a:cubicBezTo>
                  <a:pt x="40" y="170"/>
                  <a:pt x="21" y="189"/>
                  <a:pt x="21" y="213"/>
                </a:cubicBezTo>
                <a:cubicBezTo>
                  <a:pt x="21" y="309"/>
                  <a:pt x="21" y="309"/>
                  <a:pt x="21" y="309"/>
                </a:cubicBezTo>
                <a:cubicBezTo>
                  <a:pt x="21" y="315"/>
                  <a:pt x="16" y="320"/>
                  <a:pt x="10" y="320"/>
                </a:cubicBezTo>
                <a:cubicBezTo>
                  <a:pt x="4" y="320"/>
                  <a:pt x="0" y="315"/>
                  <a:pt x="0" y="309"/>
                </a:cubicBezTo>
                <a:cubicBezTo>
                  <a:pt x="0" y="213"/>
                  <a:pt x="0" y="213"/>
                  <a:pt x="0" y="213"/>
                </a:cubicBezTo>
                <a:cubicBezTo>
                  <a:pt x="0" y="178"/>
                  <a:pt x="28" y="149"/>
                  <a:pt x="64" y="149"/>
                </a:cubicBezTo>
                <a:cubicBezTo>
                  <a:pt x="192" y="149"/>
                  <a:pt x="192" y="149"/>
                  <a:pt x="192" y="149"/>
                </a:cubicBezTo>
                <a:cubicBezTo>
                  <a:pt x="227" y="149"/>
                  <a:pt x="256" y="178"/>
                  <a:pt x="256" y="213"/>
                </a:cubicBezTo>
                <a:cubicBezTo>
                  <a:pt x="256" y="309"/>
                  <a:pt x="256" y="309"/>
                  <a:pt x="256" y="309"/>
                </a:cubicBezTo>
                <a:cubicBezTo>
                  <a:pt x="256" y="315"/>
                  <a:pt x="251" y="320"/>
                  <a:pt x="245" y="320"/>
                </a:cubicBezTo>
                <a:close/>
                <a:moveTo>
                  <a:pt x="192" y="64"/>
                </a:moveTo>
                <a:cubicBezTo>
                  <a:pt x="192" y="28"/>
                  <a:pt x="163" y="0"/>
                  <a:pt x="128" y="0"/>
                </a:cubicBezTo>
                <a:cubicBezTo>
                  <a:pt x="92" y="0"/>
                  <a:pt x="64" y="28"/>
                  <a:pt x="64" y="64"/>
                </a:cubicBezTo>
                <a:cubicBezTo>
                  <a:pt x="64" y="99"/>
                  <a:pt x="92" y="128"/>
                  <a:pt x="128" y="128"/>
                </a:cubicBezTo>
                <a:cubicBezTo>
                  <a:pt x="163" y="128"/>
                  <a:pt x="192" y="99"/>
                  <a:pt x="192" y="64"/>
                </a:cubicBezTo>
                <a:close/>
                <a:moveTo>
                  <a:pt x="170" y="64"/>
                </a:moveTo>
                <a:cubicBezTo>
                  <a:pt x="170" y="87"/>
                  <a:pt x="151" y="106"/>
                  <a:pt x="128" y="106"/>
                </a:cubicBezTo>
                <a:cubicBezTo>
                  <a:pt x="104" y="106"/>
                  <a:pt x="85" y="87"/>
                  <a:pt x="85" y="64"/>
                </a:cubicBezTo>
                <a:cubicBezTo>
                  <a:pt x="85" y="40"/>
                  <a:pt x="104" y="21"/>
                  <a:pt x="128" y="21"/>
                </a:cubicBezTo>
                <a:cubicBezTo>
                  <a:pt x="151" y="21"/>
                  <a:pt x="170" y="40"/>
                  <a:pt x="170" y="64"/>
                </a:cubicBezTo>
                <a:close/>
              </a:path>
            </a:pathLst>
          </a:custGeom>
          <a:solidFill>
            <a:srgbClr val="0097A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cxnSp>
        <p:nvCxnSpPr>
          <p:cNvPr id="323" name="Straight Arrow Connector 322">
            <a:extLst>
              <a:ext uri="{FF2B5EF4-FFF2-40B4-BE49-F238E27FC236}">
                <a16:creationId xmlns:a16="http://schemas.microsoft.com/office/drawing/2014/main" id="{7DE90770-400A-CDD0-4C4E-9A060D743807}"/>
              </a:ext>
            </a:extLst>
          </p:cNvPr>
          <p:cNvCxnSpPr>
            <a:cxnSpLocks/>
          </p:cNvCxnSpPr>
          <p:nvPr/>
        </p:nvCxnSpPr>
        <p:spPr>
          <a:xfrm flipH="1">
            <a:off x="1009749" y="1932770"/>
            <a:ext cx="0" cy="216000"/>
          </a:xfrm>
          <a:prstGeom prst="straightConnector1">
            <a:avLst/>
          </a:prstGeom>
          <a:noFill/>
          <a:ln w="57150" cap="flat" cmpd="sng" algn="ctr">
            <a:solidFill>
              <a:sysClr val="window" lastClr="FFFFFF">
                <a:lumMod val="75000"/>
              </a:sysClr>
            </a:solidFill>
            <a:prstDash val="solid"/>
            <a:headEnd type="none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3982846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2881AD5A-5F11-025B-88C5-EECEB8BC96DE}"/>
              </a:ext>
            </a:extLst>
          </p:cNvPr>
          <p:cNvSpPr txBox="1">
            <a:spLocks/>
          </p:cNvSpPr>
          <p:nvPr/>
        </p:nvSpPr>
        <p:spPr bwMode="gray">
          <a:xfrm>
            <a:off x="452544" y="1543369"/>
            <a:ext cx="7700855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Děkuji za pozornos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3201142-E565-8C64-DB00-BC2CACE8FEE7}"/>
              </a:ext>
            </a:extLst>
          </p:cNvPr>
          <p:cNvSpPr txBox="1">
            <a:spLocks/>
          </p:cNvSpPr>
          <p:nvPr/>
        </p:nvSpPr>
        <p:spPr bwMode="gray">
          <a:xfrm>
            <a:off x="452544" y="2570843"/>
            <a:ext cx="7700855" cy="58309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sz="3200" b="0" kern="120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cs-CZ" b="1" dirty="0"/>
              <a:t>Kontakt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4BD0D0E-F4E5-C883-28C9-E741A02EEAE3}"/>
              </a:ext>
            </a:extLst>
          </p:cNvPr>
          <p:cNvSpPr txBox="1"/>
          <p:nvPr/>
        </p:nvSpPr>
        <p:spPr>
          <a:xfrm>
            <a:off x="2960152" y="4159266"/>
            <a:ext cx="2952000" cy="2584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spcBef>
                <a:spcPts val="100"/>
              </a:spcBef>
              <a:spcAft>
                <a:spcPts val="100"/>
              </a:spcAft>
              <a:buSzPct val="100000"/>
              <a:defRPr sz="16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dirty="0">
                <a:solidFill>
                  <a:schemeClr val="tx1"/>
                </a:solidFill>
              </a:rPr>
              <a:t>Kateřina Mašínová</a:t>
            </a: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b="0" dirty="0">
                <a:solidFill>
                  <a:schemeClr val="tx1"/>
                </a:solidFill>
              </a:rPr>
              <a:t>Senior </a:t>
            </a:r>
            <a:r>
              <a:rPr lang="cs-CZ" b="0" dirty="0" err="1">
                <a:solidFill>
                  <a:schemeClr val="tx1"/>
                </a:solidFill>
              </a:rPr>
              <a:t>Consultant</a:t>
            </a:r>
            <a:endParaRPr lang="en-US" b="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cs-CZ" b="0" dirty="0" err="1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masinova</a:t>
            </a:r>
            <a:r>
              <a:rPr lang="en-US" b="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deloitteCE.com</a:t>
            </a:r>
            <a:endParaRPr lang="en-US" b="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b="0" dirty="0">
                <a:solidFill>
                  <a:schemeClr val="tx1"/>
                </a:solidFill>
              </a:rPr>
              <a:t>+420 </a:t>
            </a:r>
            <a:r>
              <a:rPr lang="cs-CZ" b="0" dirty="0">
                <a:solidFill>
                  <a:schemeClr val="tx1"/>
                </a:solidFill>
              </a:rPr>
              <a:t>703 893 477 </a:t>
            </a:r>
            <a:r>
              <a:rPr lang="en-US" b="0" dirty="0">
                <a:solidFill>
                  <a:schemeClr val="tx1"/>
                </a:solidFill>
              </a:rPr>
              <a:t>linkedin.com/in/katerinamasinova/</a:t>
            </a:r>
          </a:p>
        </p:txBody>
      </p:sp>
      <p:pic>
        <p:nvPicPr>
          <p:cNvPr id="6" name="Picture 5" descr="A picture containing person, clothing, outdoor&#10;&#10;Description automatically generated">
            <a:extLst>
              <a:ext uri="{FF2B5EF4-FFF2-40B4-BE49-F238E27FC236}">
                <a16:creationId xmlns:a16="http://schemas.microsoft.com/office/drawing/2014/main" id="{FF6F8B84-2ACB-BEDC-B663-F522E3C2EF6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52" y="2862768"/>
            <a:ext cx="1800000" cy="117064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AAF607B-2E4E-405B-47A5-60CD67D06E7B}"/>
              </a:ext>
            </a:extLst>
          </p:cNvPr>
          <p:cNvCxnSpPr/>
          <p:nvPr/>
        </p:nvCxnSpPr>
        <p:spPr>
          <a:xfrm flipH="1" flipV="1">
            <a:off x="2906152" y="2800441"/>
            <a:ext cx="1836000" cy="0"/>
          </a:xfrm>
          <a:prstGeom prst="line">
            <a:avLst/>
          </a:prstGeom>
          <a:ln w="28575" cmpd="sng">
            <a:solidFill>
              <a:srgbClr val="79D8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8310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update_ppt_default_2022.pptx" id="{4C8BF10E-0C83-419B-8C3C-CDF5020B1037}" vid="{8A16D38C-102B-4677-9510-850044B5C7DA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update_ppt_default_2022.pptx" id="{4C8BF10E-0C83-419B-8C3C-CDF5020B1037}" vid="{BF8E07B4-DB92-4112-8EF3-FC7A43D7561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C0B5E8C28FBB4DB6BB6E6547CA8A70" ma:contentTypeVersion="13" ma:contentTypeDescription="Create a new document." ma:contentTypeScope="" ma:versionID="0a46a10188038176b4a387d52ea71e7a">
  <xsd:schema xmlns:xsd="http://www.w3.org/2001/XMLSchema" xmlns:xs="http://www.w3.org/2001/XMLSchema" xmlns:p="http://schemas.microsoft.com/office/2006/metadata/properties" xmlns:ns3="8f1e2369-70da-40d7-b978-99d0855b91b8" xmlns:ns4="8ee28f6f-733e-446a-845c-015b8614e1f7" targetNamespace="http://schemas.microsoft.com/office/2006/metadata/properties" ma:root="true" ma:fieldsID="79067f50d15324d46a422f953b0a6563" ns3:_="" ns4:_="">
    <xsd:import namespace="8f1e2369-70da-40d7-b978-99d0855b91b8"/>
    <xsd:import namespace="8ee28f6f-733e-446a-845c-015b8614e1f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1e2369-70da-40d7-b978-99d0855b9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e28f6f-733e-446a-845c-015b8614e1f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05E49B-70B5-4FEC-89D5-F69F52BE5B81}">
  <ds:schemaRefs>
    <ds:schemaRef ds:uri="http://schemas.microsoft.com/office/2006/documentManagement/types"/>
    <ds:schemaRef ds:uri="8f1e2369-70da-40d7-b978-99d0855b91b8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8ee28f6f-733e-446a-845c-015b8614e1f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BF5FBC8-9FF1-4377-BFED-A78611F885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f1e2369-70da-40d7-b978-99d0855b91b8"/>
    <ds:schemaRef ds:uri="8ee28f6f-733e-446a-845c-015b8614e1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3</TotalTime>
  <Words>673</Words>
  <Application>Microsoft Office PowerPoint</Application>
  <PresentationFormat>Widescreen</PresentationFormat>
  <Paragraphs>112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Verdana</vt:lpstr>
      <vt:lpstr>Wingdings</vt:lpstr>
      <vt:lpstr>Wingdings 2</vt:lpstr>
      <vt:lpstr>1_Deloitte Brand Theme</vt:lpstr>
      <vt:lpstr>Deloitte Brand Theme</vt:lpstr>
      <vt:lpstr>think-cell Slide</vt:lpstr>
      <vt:lpstr>Představení Centrálních prvků C-I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ředstavení ekosystému C-ITS</dc:title>
  <dc:creator>Masinova, Katerina</dc:creator>
  <cp:lastModifiedBy>Masinova, Katerina</cp:lastModifiedBy>
  <cp:revision>14</cp:revision>
  <cp:lastPrinted>2014-06-25T02:16:22Z</cp:lastPrinted>
  <dcterms:created xsi:type="dcterms:W3CDTF">2022-12-08T11:16:24Z</dcterms:created>
  <dcterms:modified xsi:type="dcterms:W3CDTF">2022-12-09T11:40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C0B5E8C28FBB4DB6BB6E6547CA8A7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11-08T17:14:49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2dc67d39-dba5-4ed9-8bd6-b34dbe6f2ad7</vt:lpwstr>
  </property>
  <property fmtid="{D5CDD505-2E9C-101B-9397-08002B2CF9AE}" pid="9" name="MSIP_Label_ea60d57e-af5b-4752-ac57-3e4f28ca11dc_ContentBits">
    <vt:lpwstr>0</vt:lpwstr>
  </property>
</Properties>
</file>